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38"/>
  </p:notesMasterIdLst>
  <p:sldIdLst>
    <p:sldId id="272" r:id="rId2"/>
    <p:sldId id="357" r:id="rId3"/>
    <p:sldId id="358" r:id="rId4"/>
    <p:sldId id="356" r:id="rId5"/>
    <p:sldId id="381" r:id="rId6"/>
    <p:sldId id="402" r:id="rId7"/>
    <p:sldId id="259" r:id="rId8"/>
    <p:sldId id="258" r:id="rId9"/>
    <p:sldId id="260" r:id="rId10"/>
    <p:sldId id="261" r:id="rId11"/>
    <p:sldId id="264" r:id="rId12"/>
    <p:sldId id="262" r:id="rId13"/>
    <p:sldId id="273" r:id="rId14"/>
    <p:sldId id="275" r:id="rId15"/>
    <p:sldId id="274" r:id="rId16"/>
    <p:sldId id="276" r:id="rId17"/>
    <p:sldId id="277" r:id="rId18"/>
    <p:sldId id="278" r:id="rId19"/>
    <p:sldId id="404" r:id="rId20"/>
    <p:sldId id="405" r:id="rId21"/>
    <p:sldId id="279" r:id="rId22"/>
    <p:sldId id="280" r:id="rId23"/>
    <p:sldId id="281" r:id="rId24"/>
    <p:sldId id="282" r:id="rId25"/>
    <p:sldId id="283" r:id="rId26"/>
    <p:sldId id="284" r:id="rId27"/>
    <p:sldId id="285" r:id="rId28"/>
    <p:sldId id="287" r:id="rId29"/>
    <p:sldId id="288" r:id="rId30"/>
    <p:sldId id="286" r:id="rId31"/>
    <p:sldId id="372" r:id="rId32"/>
    <p:sldId id="374" r:id="rId33"/>
    <p:sldId id="385" r:id="rId34"/>
    <p:sldId id="384" r:id="rId35"/>
    <p:sldId id="375" r:id="rId36"/>
    <p:sldId id="406" r:id="rId37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9766B"/>
    <a:srgbClr val="444E8B"/>
    <a:srgbClr val="F6B58E"/>
    <a:srgbClr val="0154A5"/>
    <a:srgbClr val="00632F"/>
    <a:srgbClr val="014587"/>
    <a:srgbClr val="008F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09" autoAdjust="0"/>
    <p:restoredTop sz="94316" autoAdjust="0"/>
  </p:normalViewPr>
  <p:slideViewPr>
    <p:cSldViewPr snapToGrid="0">
      <p:cViewPr varScale="1">
        <p:scale>
          <a:sx n="109" d="100"/>
          <a:sy n="109" d="100"/>
        </p:scale>
        <p:origin x="14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D84E74-80FB-4E5E-97C9-2CFDDC4DB114}" type="datetimeFigureOut">
              <a:rPr lang="de-DE" smtClean="0"/>
              <a:t>25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3190A6-6636-436D-BC0A-6D225BB90E3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9395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Master" Target="../slideMasters/slideMaster1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0513" y="0"/>
            <a:ext cx="9222213" cy="689675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053737" y="4125637"/>
            <a:ext cx="11303726" cy="29126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0253" y="2013045"/>
            <a:ext cx="6858000" cy="1211606"/>
          </a:xfrm>
        </p:spPr>
        <p:txBody>
          <a:bodyPr anchor="b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0008" y="3361137"/>
            <a:ext cx="603849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B9766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52574" y="5238949"/>
            <a:ext cx="6038850" cy="698500"/>
          </a:xfrm>
        </p:spPr>
        <p:txBody>
          <a:bodyPr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4pPr marL="1371600" indent="0">
              <a:buNone/>
              <a:defRPr/>
            </a:lvl4pPr>
          </a:lstStyle>
          <a:p>
            <a:pPr lvl="0"/>
            <a:r>
              <a:rPr lang="de-DE" dirty="0" smtClean="0"/>
              <a:t>Name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01" y="171944"/>
            <a:ext cx="3099371" cy="1273679"/>
          </a:xfrm>
          <a:prstGeom prst="rect">
            <a:avLst/>
          </a:prstGeom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88480" y="693881"/>
            <a:ext cx="2065670" cy="7972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2400" b="1" dirty="0" smtClean="0">
                <a:solidFill>
                  <a:srgbClr val="B9766B"/>
                </a:solidFill>
              </a:rPr>
              <a:t>PRODUCER </a:t>
            </a:r>
          </a:p>
          <a:p>
            <a:r>
              <a:rPr lang="de-DE" sz="2400" b="1" dirty="0" smtClean="0">
                <a:solidFill>
                  <a:srgbClr val="B9766B"/>
                </a:solidFill>
              </a:rPr>
              <a:t>MEETING</a:t>
            </a:r>
            <a:endParaRPr lang="de-DE" sz="2400" b="1" dirty="0">
              <a:solidFill>
                <a:srgbClr val="B9766B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6827520" y="428286"/>
            <a:ext cx="2187590" cy="402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2600" b="0" dirty="0" smtClean="0">
                <a:solidFill>
                  <a:srgbClr val="B9766B"/>
                </a:solidFill>
              </a:rPr>
              <a:t>GERMAN</a:t>
            </a:r>
            <a:endParaRPr lang="de-DE" sz="3200" b="0" dirty="0">
              <a:solidFill>
                <a:srgbClr val="B976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847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0513" y="0"/>
            <a:ext cx="9222213" cy="689675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079863" y="4306180"/>
            <a:ext cx="11303726" cy="29126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1593" y="1846342"/>
            <a:ext cx="6858000" cy="1211606"/>
          </a:xfrm>
        </p:spPr>
        <p:txBody>
          <a:bodyPr anchor="b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01" y="171944"/>
            <a:ext cx="3099371" cy="1273679"/>
          </a:xfrm>
          <a:prstGeom prst="rect">
            <a:avLst/>
          </a:prstGeom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2096530" y="3458668"/>
            <a:ext cx="4950940" cy="17405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4400" b="1" dirty="0" smtClean="0">
                <a:solidFill>
                  <a:schemeClr val="bg1"/>
                </a:solidFill>
              </a:rPr>
              <a:t>PRODUCER </a:t>
            </a:r>
          </a:p>
          <a:p>
            <a:r>
              <a:rPr lang="de-DE" sz="4400" b="1" dirty="0" smtClean="0">
                <a:solidFill>
                  <a:schemeClr val="bg1"/>
                </a:solidFill>
              </a:rPr>
              <a:t>MEETING</a:t>
            </a:r>
            <a:endParaRPr lang="de-DE" sz="4400" b="1" dirty="0">
              <a:solidFill>
                <a:schemeClr val="bg1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2515137" y="3097272"/>
            <a:ext cx="4090911" cy="5847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4400" b="0" dirty="0" smtClean="0">
                <a:solidFill>
                  <a:schemeClr val="bg1"/>
                </a:solidFill>
              </a:rPr>
              <a:t>GERMAN</a:t>
            </a:r>
            <a:endParaRPr lang="de-DE" sz="4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959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5319069" cy="1325563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C7B87-E9AC-4FFD-952D-FBB3CBC37A68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itel 1"/>
          <p:cNvSpPr txBox="1">
            <a:spLocks/>
          </p:cNvSpPr>
          <p:nvPr userDrawn="1"/>
        </p:nvSpPr>
        <p:spPr>
          <a:xfrm>
            <a:off x="3488311" y="6279098"/>
            <a:ext cx="2969639" cy="544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1600" b="1" dirty="0" smtClean="0">
                <a:solidFill>
                  <a:srgbClr val="B9766B"/>
                </a:solidFill>
              </a:rPr>
              <a:t>PRODUCER MEETING</a:t>
            </a:r>
            <a:endParaRPr lang="de-DE" sz="1600" b="1" dirty="0">
              <a:solidFill>
                <a:srgbClr val="B9766B"/>
              </a:solidFill>
            </a:endParaRPr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2194389" y="6349828"/>
            <a:ext cx="2187590" cy="402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1600" b="0" dirty="0" smtClean="0">
                <a:solidFill>
                  <a:srgbClr val="B9766B"/>
                </a:solidFill>
              </a:rPr>
              <a:t>GERMAN</a:t>
            </a:r>
            <a:endParaRPr lang="de-DE" sz="2000" b="0" dirty="0">
              <a:solidFill>
                <a:srgbClr val="B976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78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5310831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03F2CB-B76B-4C7F-A3D8-53FE34E5FB7B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0799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F0CB-406C-47D9-9F17-E8F56A4BFA1C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505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enutzerdefiniertes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41" y="112143"/>
            <a:ext cx="5843317" cy="584331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28650" y="2769079"/>
            <a:ext cx="7886700" cy="1046478"/>
          </a:xfrm>
        </p:spPr>
        <p:txBody>
          <a:bodyPr>
            <a:normAutofit/>
          </a:bodyPr>
          <a:lstStyle>
            <a:lvl1pPr algn="ctr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Dankeschön!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F2526-7CF1-4CC2-8AEE-6A3D178DA197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5256960"/>
            <a:ext cx="6038850" cy="698500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4pPr marL="1371600" indent="0">
              <a:buNone/>
              <a:defRPr/>
            </a:lvl4pPr>
          </a:lstStyle>
          <a:p>
            <a:pPr lvl="0"/>
            <a:r>
              <a:rPr lang="de-DE" dirty="0" smtClean="0"/>
              <a:t>Name</a:t>
            </a:r>
          </a:p>
          <a:p>
            <a:pPr lvl="0"/>
            <a:r>
              <a:rPr lang="de-DE" dirty="0" smtClean="0"/>
              <a:t>Trust </a:t>
            </a:r>
            <a:r>
              <a:rPr lang="de-DE" dirty="0" err="1" smtClean="0"/>
              <a:t>Risk</a:t>
            </a:r>
            <a:r>
              <a:rPr lang="de-DE" dirty="0" smtClean="0"/>
              <a:t> Control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356844"/>
            <a:ext cx="2397283" cy="970832"/>
          </a:xfrm>
          <a:prstGeom prst="rect">
            <a:avLst/>
          </a:prstGeom>
        </p:spPr>
      </p:pic>
      <p:sp>
        <p:nvSpPr>
          <p:cNvPr id="9" name="Titel 1"/>
          <p:cNvSpPr txBox="1">
            <a:spLocks/>
          </p:cNvSpPr>
          <p:nvPr userDrawn="1"/>
        </p:nvSpPr>
        <p:spPr>
          <a:xfrm>
            <a:off x="6888480" y="693881"/>
            <a:ext cx="2065670" cy="7972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2400" b="1" dirty="0" smtClean="0">
                <a:solidFill>
                  <a:srgbClr val="B9766B"/>
                </a:solidFill>
              </a:rPr>
              <a:t>PRODUCER </a:t>
            </a:r>
          </a:p>
          <a:p>
            <a:r>
              <a:rPr lang="de-DE" sz="2400" b="1" dirty="0" smtClean="0">
                <a:solidFill>
                  <a:srgbClr val="B9766B"/>
                </a:solidFill>
              </a:rPr>
              <a:t>MEETING</a:t>
            </a:r>
            <a:endParaRPr lang="de-DE" sz="2400" b="1" dirty="0">
              <a:solidFill>
                <a:srgbClr val="B9766B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 userDrawn="1"/>
        </p:nvSpPr>
        <p:spPr>
          <a:xfrm>
            <a:off x="6827520" y="428286"/>
            <a:ext cx="2187590" cy="402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2600" b="0" dirty="0" smtClean="0">
                <a:solidFill>
                  <a:srgbClr val="B9766B"/>
                </a:solidFill>
              </a:rPr>
              <a:t>GERMAN</a:t>
            </a:r>
            <a:endParaRPr lang="de-DE" sz="3200" b="0" dirty="0">
              <a:solidFill>
                <a:srgbClr val="B976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154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RC in Zahl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28650" y="581589"/>
            <a:ext cx="5121361" cy="91254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RC – in Zahl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E3B40-4D3F-4ACA-9831-AEEE4E2A079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Abgerundetes Rechteck 6"/>
          <p:cNvSpPr/>
          <p:nvPr/>
        </p:nvSpPr>
        <p:spPr>
          <a:xfrm>
            <a:off x="4235292" y="1862733"/>
            <a:ext cx="4280058" cy="4321574"/>
          </a:xfrm>
          <a:prstGeom prst="roundRect">
            <a:avLst>
              <a:gd name="adj" fmla="val 1096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3920" y="2715230"/>
            <a:ext cx="3211231" cy="3211231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758935" y="2610950"/>
            <a:ext cx="16475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5.000</a:t>
            </a: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Mitarbeiter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775898" y="5046264"/>
            <a:ext cx="20049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.000</a:t>
            </a: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Niederlassungen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199602" y="3149194"/>
            <a:ext cx="1068116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500" b="1" dirty="0" smtClean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€</a:t>
            </a:r>
            <a:endParaRPr lang="en-US" sz="115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6645485" y="5084131"/>
            <a:ext cx="182583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00</a:t>
            </a:r>
            <a:r>
              <a:rPr lang="en-US" sz="28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Mrd</a:t>
            </a:r>
            <a:r>
              <a:rPr lang="en-US" sz="28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Prämien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Abgerundetes Rechteck 11"/>
          <p:cNvSpPr/>
          <p:nvPr/>
        </p:nvSpPr>
        <p:spPr>
          <a:xfrm>
            <a:off x="503324" y="1862734"/>
            <a:ext cx="4236023" cy="4321573"/>
          </a:xfrm>
          <a:prstGeom prst="roundRect">
            <a:avLst>
              <a:gd name="adj" fmla="val 10972"/>
            </a:avLst>
          </a:prstGeom>
          <a:solidFill>
            <a:srgbClr val="32287D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706149" y="2769203"/>
            <a:ext cx="19799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.500</a:t>
            </a:r>
          </a:p>
          <a:p>
            <a:pPr algn="ctr"/>
            <a:r>
              <a:rPr lang="en-US" sz="1600" b="1" dirty="0">
                <a:solidFill>
                  <a:srgbClr val="32287D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</a:t>
            </a:r>
            <a:r>
              <a:rPr lang="en-US" sz="1600" b="1" dirty="0" smtClean="0">
                <a:solidFill>
                  <a:srgbClr val="32287D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ltweite Kunden</a:t>
            </a:r>
            <a:endParaRPr lang="en-US" sz="1600" b="1" dirty="0">
              <a:solidFill>
                <a:srgbClr val="32287D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3369309" y="4460677"/>
            <a:ext cx="10991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80</a:t>
            </a: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Länder</a:t>
            </a:r>
            <a:endParaRPr lang="en-US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255225" y="1936116"/>
            <a:ext cx="725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RC</a:t>
            </a:r>
            <a:endParaRPr lang="en-US" sz="2000" b="1" dirty="0">
              <a:solidFill>
                <a:srgbClr val="32287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756105" y="3318599"/>
            <a:ext cx="123317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r>
              <a:rPr lang="en-US" sz="3200" b="1" dirty="0" smtClean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Standorte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231792" y="4899977"/>
            <a:ext cx="277226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en-US" sz="3200" b="1" dirty="0" smtClean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algn="ctr"/>
            <a:r>
              <a:rPr lang="en-US" sz="1600" b="1" dirty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d</a:t>
            </a:r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er größten unabhängigen Maklernetzwerke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48405" y="3953859"/>
            <a:ext cx="23080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ü</a:t>
            </a:r>
            <a:r>
              <a:rPr lang="en-US" sz="20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ber </a:t>
            </a:r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80</a:t>
            </a:r>
            <a:endParaRPr lang="en-US" sz="2000" b="1" dirty="0" smtClean="0">
              <a:solidFill>
                <a:srgbClr val="32287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Netzwerk-Mitglieder und Service Partner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502129" y="1936116"/>
            <a:ext cx="2250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RC - Mitglieder</a:t>
            </a:r>
            <a:endParaRPr lang="en-US" sz="2000" b="1" dirty="0">
              <a:solidFill>
                <a:schemeClr val="tx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4741414" y="2716518"/>
            <a:ext cx="16925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2.5</a:t>
            </a:r>
            <a:r>
              <a:rPr lang="en-US" sz="28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0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Mrd</a:t>
            </a:r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r>
              <a:rPr lang="en-US" sz="3200" b="1" dirty="0" smtClean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en-US" sz="3200" b="1" dirty="0" smtClean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b="1" dirty="0" smtClean="0">
                <a:solidFill>
                  <a:srgbClr val="8A66C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Courtage</a:t>
            </a:r>
            <a:endParaRPr lang="en-US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2470153" y="2438402"/>
            <a:ext cx="26642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6 Jahre</a:t>
            </a:r>
          </a:p>
          <a:p>
            <a:pPr algn="ctr"/>
            <a:r>
              <a:rPr lang="en-US" sz="1600" b="1" dirty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US" sz="1600" b="1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m Markt</a:t>
            </a:r>
            <a:endParaRPr lang="en-US" sz="1600" b="1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896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4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4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8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2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4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6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4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4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4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4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4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40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4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4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4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80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4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4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2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4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4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600"/>
                            </p:stCondLst>
                            <p:childTnLst>
                              <p:par>
                                <p:cTn id="5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1" grpId="0"/>
      <p:bldP spid="13" grpId="0"/>
      <p:bldP spid="14" grpId="0"/>
      <p:bldP spid="16" grpId="0"/>
      <p:bldP spid="17" grpId="0"/>
      <p:bldP spid="18" grpId="0"/>
      <p:bldP spid="20" grpId="0"/>
      <p:bldP spid="21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RC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09275" y="536804"/>
            <a:ext cx="4863212" cy="1005474"/>
          </a:xfrm>
        </p:spPr>
        <p:txBody>
          <a:bodyPr/>
          <a:lstStyle>
            <a:lvl1pPr>
              <a:defRPr baseline="0">
                <a:latin typeface="+mn-lt"/>
              </a:defRPr>
            </a:lvl1pPr>
          </a:lstStyle>
          <a:p>
            <a:r>
              <a:rPr lang="de-DE" dirty="0" smtClean="0"/>
              <a:t>WE ARE TRC!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24/04/2024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E3B40-4D3F-4ACA-9831-AEEE4E2A079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 Box 72"/>
          <p:cNvSpPr txBox="1">
            <a:spLocks noChangeArrowheads="1"/>
          </p:cNvSpPr>
          <p:nvPr/>
        </p:nvSpPr>
        <p:spPr bwMode="auto">
          <a:xfrm>
            <a:off x="992982" y="6005392"/>
            <a:ext cx="73152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ct val="50000"/>
              </a:spcBef>
              <a:spcAft>
                <a:spcPts val="0"/>
              </a:spcAft>
            </a:pPr>
            <a:r>
              <a:rPr lang="de-DE" altLang="de-DE" sz="1200" dirty="0">
                <a:solidFill>
                  <a:srgbClr val="32287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Mit aktiv betreuten Kunden in mehr als 100 Ländern und Kontakten in ca. </a:t>
            </a:r>
            <a:r>
              <a:rPr lang="de-DE" altLang="de-DE" sz="1200" dirty="0" smtClean="0">
                <a:solidFill>
                  <a:srgbClr val="32287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180 </a:t>
            </a:r>
            <a:r>
              <a:rPr lang="de-DE" altLang="de-DE" sz="1200" dirty="0">
                <a:solidFill>
                  <a:srgbClr val="32287D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Ländern gehört TRC zu den weltweit führenden Maklernetzwerken.</a:t>
            </a:r>
          </a:p>
        </p:txBody>
      </p:sp>
      <p:sp>
        <p:nvSpPr>
          <p:cNvPr id="7" name="Freeform 25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75719" y="5688483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Freeform 197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575719" y="5688483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Freeform 4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558257" y="5364960"/>
            <a:ext cx="33337" cy="52831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Freeform 5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16757" y="1760682"/>
            <a:ext cx="784225" cy="412379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Freeform 6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177132" y="2330087"/>
            <a:ext cx="1381125" cy="711757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Freeform 7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010569" y="3763874"/>
            <a:ext cx="339725" cy="545925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Freeform 8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310607" y="4284850"/>
            <a:ext cx="261937" cy="1044888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Freeform 9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2215357" y="3621522"/>
            <a:ext cx="966787" cy="111239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Freeform 10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328319" y="2647076"/>
            <a:ext cx="69850" cy="45494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Freeform 11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83540" y="2527876"/>
            <a:ext cx="82550" cy="148221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Freeform 1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907632" y="2055657"/>
            <a:ext cx="171450" cy="249482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Freeform 13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266407" y="2335957"/>
            <a:ext cx="169862" cy="70442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Freeform 14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758657" y="2196541"/>
            <a:ext cx="1281112" cy="959771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Freeform 1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450557" y="1772422"/>
            <a:ext cx="220662" cy="252417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Freeform 16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87032" y="2158385"/>
            <a:ext cx="182562" cy="220131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Freeform 17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212432" y="2396127"/>
            <a:ext cx="250825" cy="253884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Freeform 18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229894" y="2551686"/>
            <a:ext cx="33338" cy="76312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4" name="Group 19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6549232" y="3532003"/>
            <a:ext cx="473075" cy="196650"/>
            <a:chOff x="4488" y="2394"/>
            <a:chExt cx="358" cy="124"/>
          </a:xfrm>
          <a:solidFill>
            <a:srgbClr val="CC99FF"/>
          </a:solidFill>
        </p:grpSpPr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7" name="Freeform 22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4571207" y="1568434"/>
            <a:ext cx="3065462" cy="993524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Freeform 2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3891478" y="2477980"/>
            <a:ext cx="280987" cy="228936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Freeform 24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466682" y="3163650"/>
            <a:ext cx="207962" cy="421184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Line 26" descr="Horizontal dunkel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1037432" y="2525270"/>
            <a:ext cx="3175" cy="880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Freeform 27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040607" y="2522335"/>
            <a:ext cx="3175" cy="51363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" name="Freeform 28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016794" y="2572232"/>
            <a:ext cx="23813" cy="52831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" name="Freeform 29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2342357" y="2567828"/>
            <a:ext cx="49212" cy="52831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Freeform 30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080794" y="2158385"/>
            <a:ext cx="874713" cy="418248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Freeform 31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310982" y="2438685"/>
            <a:ext cx="409575" cy="230404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Freeform 32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118769" y="3366170"/>
            <a:ext cx="296863" cy="267092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Freeform 33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961732" y="3241430"/>
            <a:ext cx="152400" cy="157026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Freeform 34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423569" y="2321282"/>
            <a:ext cx="125413" cy="52831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Freeform 35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287169" y="2987545"/>
            <a:ext cx="19050" cy="52831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Freeform 36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406232" y="2991948"/>
            <a:ext cx="14287" cy="52831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Freeform 37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6893719" y="3602445"/>
            <a:ext cx="44450" cy="52831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2" name="Group 38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2745582" y="5273972"/>
            <a:ext cx="65087" cy="51364"/>
            <a:chOff x="1654" y="3671"/>
            <a:chExt cx="49" cy="17"/>
          </a:xfrm>
        </p:grpSpPr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45" name="Freeform 41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393157" y="3235560"/>
            <a:ext cx="31750" cy="54299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Freeform 42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48719" y="3241430"/>
            <a:ext cx="1588" cy="54299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Freeform 43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61419" y="3242897"/>
            <a:ext cx="6350" cy="54299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Freeform 44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75707" y="3234092"/>
            <a:ext cx="7937" cy="52831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Freeform 45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55069" y="3226754"/>
            <a:ext cx="11113" cy="54299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Freeform 46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2504282" y="3253170"/>
            <a:ext cx="14287" cy="55767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Line 47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 flipV="1">
            <a:off x="2512219" y="3250235"/>
            <a:ext cx="6350" cy="880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Line 48"/>
          <p:cNvSpPr>
            <a:spLocks noChangeShapeType="1"/>
          </p:cNvSpPr>
          <p:nvPr>
            <p:custDataLst>
              <p:tags r:id="rId42"/>
            </p:custDataLst>
          </p:nvPr>
        </p:nvSpPr>
        <p:spPr bwMode="auto">
          <a:xfrm flipH="1">
            <a:off x="2512219" y="3273716"/>
            <a:ext cx="6350" cy="1027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Freeform 49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512219" y="3269313"/>
            <a:ext cx="11113" cy="54299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" name="Freeform 50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518569" y="3295728"/>
            <a:ext cx="17463" cy="51364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Freeform 51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524919" y="3339754"/>
            <a:ext cx="15875" cy="52831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Freeform 52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34444" y="3363235"/>
            <a:ext cx="3175" cy="52831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Freeform 53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556669" y="3391119"/>
            <a:ext cx="1588" cy="51363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8" name="Freeform 54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518569" y="3402859"/>
            <a:ext cx="15875" cy="54299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Freeform 55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504282" y="3463028"/>
            <a:ext cx="23812" cy="52831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Freeform 56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523332" y="3441015"/>
            <a:ext cx="12700" cy="52831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1" name="Freeform 57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2005807" y="3137234"/>
            <a:ext cx="15875" cy="52831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2" name="Group 58"/>
          <p:cNvGrpSpPr>
            <a:grpSpLocks/>
          </p:cNvGrpSpPr>
          <p:nvPr>
            <p:custDataLst>
              <p:tags r:id="rId52"/>
            </p:custDataLst>
          </p:nvPr>
        </p:nvGrpSpPr>
        <p:grpSpPr bwMode="auto">
          <a:xfrm>
            <a:off x="2131219" y="2983143"/>
            <a:ext cx="131763" cy="180507"/>
            <a:chOff x="1199" y="2121"/>
            <a:chExt cx="97" cy="123"/>
          </a:xfrm>
        </p:grpSpPr>
        <p:sp>
          <p:nvSpPr>
            <p:cNvPr id="63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4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6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7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8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9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1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2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73" name="Freeform 69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44644" y="4302461"/>
            <a:ext cx="12700" cy="52831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Freeform 70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954169" y="4386111"/>
            <a:ext cx="9525" cy="54299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5" name="Freeform 71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68469" y="4302461"/>
            <a:ext cx="77788" cy="120338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6" name="Freeform 72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8068469" y="4277513"/>
            <a:ext cx="14288" cy="52831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77" name="Group 73"/>
          <p:cNvGrpSpPr>
            <a:grpSpLocks/>
          </p:cNvGrpSpPr>
          <p:nvPr>
            <p:custDataLst>
              <p:tags r:id="rId57"/>
            </p:custDataLst>
          </p:nvPr>
        </p:nvGrpSpPr>
        <p:grpSpPr bwMode="auto">
          <a:xfrm>
            <a:off x="7758907" y="4758866"/>
            <a:ext cx="458787" cy="374222"/>
            <a:chOff x="5372" y="3323"/>
            <a:chExt cx="341" cy="253"/>
          </a:xfrm>
          <a:solidFill>
            <a:srgbClr val="32287D"/>
          </a:solidFill>
        </p:grpSpPr>
        <p:sp>
          <p:nvSpPr>
            <p:cNvPr id="78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9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0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81" name="Freeform 77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401719" y="3517327"/>
            <a:ext cx="9525" cy="52831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2" name="Freeform 78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28794" y="4350890"/>
            <a:ext cx="14288" cy="52831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3" name="Freeform 79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151019" y="4359695"/>
            <a:ext cx="17463" cy="54299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4" name="Freeform 80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65219" y="3507054"/>
            <a:ext cx="1588" cy="51364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5" name="Freeform 81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23957" y="3455691"/>
            <a:ext cx="6350" cy="52831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6" name="Freeform 82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636669" y="3352963"/>
            <a:ext cx="4763" cy="52831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7" name="Freeform 83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789069" y="3998680"/>
            <a:ext cx="26988" cy="54299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Freeform 84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852569" y="4011888"/>
            <a:ext cx="12700" cy="52831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9" name="Freeform 85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709694" y="3804965"/>
            <a:ext cx="25400" cy="51363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Freeform 86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652544" y="3781484"/>
            <a:ext cx="11113" cy="52831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1" name="Freeform 87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852569" y="4088200"/>
            <a:ext cx="31750" cy="52831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2" name="Freeform 88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808119" y="4077928"/>
            <a:ext cx="22225" cy="52831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3" name="Line 89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>
            <a:off x="7841457" y="4064719"/>
            <a:ext cx="20637" cy="587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4" name="Freeform 90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862094" y="4070589"/>
            <a:ext cx="1588" cy="52831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5" name="Freeform 91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816057" y="4064719"/>
            <a:ext cx="14287" cy="54299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6" name="Freeform 92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09707" y="4047109"/>
            <a:ext cx="6350" cy="55767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7" name="Freeform 93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890669" y="3794692"/>
            <a:ext cx="1588" cy="52831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8" name="Group 94"/>
          <p:cNvGrpSpPr>
            <a:grpSpLocks/>
          </p:cNvGrpSpPr>
          <p:nvPr>
            <p:custDataLst>
              <p:tags r:id="rId75"/>
            </p:custDataLst>
          </p:nvPr>
        </p:nvGrpSpPr>
        <p:grpSpPr bwMode="auto">
          <a:xfrm>
            <a:off x="7765257" y="3490912"/>
            <a:ext cx="163512" cy="105663"/>
            <a:chOff x="5379" y="2466"/>
            <a:chExt cx="122" cy="71"/>
          </a:xfrm>
        </p:grpSpPr>
        <p:sp>
          <p:nvSpPr>
            <p:cNvPr id="99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0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1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2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3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4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5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6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7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08" name="Freeform 104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349207" y="3363235"/>
            <a:ext cx="6350" cy="52831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9" name="Freeform 105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248819" y="5341479"/>
            <a:ext cx="53975" cy="54299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0" name="Freeform 106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5550694" y="5191790"/>
            <a:ext cx="30163" cy="51364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Freeform 107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704932" y="2206814"/>
            <a:ext cx="20637" cy="52831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Freeform 108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881144" y="2237632"/>
            <a:ext cx="15875" cy="52831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3" name="Freeform 109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330282" y="2450425"/>
            <a:ext cx="4762" cy="54299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4" name="Freeform 110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44544" y="2969934"/>
            <a:ext cx="14288" cy="54299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5" name="Freeform 111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162007" y="2909766"/>
            <a:ext cx="15875" cy="52831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6" name="Freeform 112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050882" y="2770349"/>
            <a:ext cx="1587" cy="55767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7" name="Freeform 113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902869" y="1963202"/>
            <a:ext cx="9525" cy="52831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8" name="Freeform 114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888582" y="1748941"/>
            <a:ext cx="3175" cy="52831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9" name="Freeform 115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369719" y="3392586"/>
            <a:ext cx="25400" cy="51364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0" name="Freeform 116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5072857" y="3264910"/>
            <a:ext cx="19050" cy="54299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21" name="Group 117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5844382" y="3438080"/>
            <a:ext cx="46037" cy="346339"/>
            <a:chOff x="3950" y="2430"/>
            <a:chExt cx="36" cy="234"/>
          </a:xfrm>
        </p:grpSpPr>
        <p:sp>
          <p:nvSpPr>
            <p:cNvPr id="122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3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4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5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alt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6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7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8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9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0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1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2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3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4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5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6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7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8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39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0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en-US" alt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1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2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3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4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5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6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7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8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9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0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1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2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53" name="Group 149"/>
          <p:cNvGrpSpPr>
            <a:grpSpLocks/>
          </p:cNvGrpSpPr>
          <p:nvPr>
            <p:custDataLst>
              <p:tags r:id="rId90"/>
            </p:custDataLst>
          </p:nvPr>
        </p:nvGrpSpPr>
        <p:grpSpPr bwMode="auto">
          <a:xfrm>
            <a:off x="7909719" y="3900355"/>
            <a:ext cx="185738" cy="198118"/>
            <a:chOff x="5486" y="2743"/>
            <a:chExt cx="137" cy="132"/>
          </a:xfrm>
        </p:grpSpPr>
        <p:sp>
          <p:nvSpPr>
            <p:cNvPr id="154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5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6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7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8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9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0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1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62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63" name="Freeform 159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255294" y="3658211"/>
            <a:ext cx="11113" cy="51363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4" name="Freeform 160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179094" y="3787355"/>
            <a:ext cx="14288" cy="52831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5" name="Freeform 161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5977732" y="2240568"/>
            <a:ext cx="728662" cy="306715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6" name="Freeform 162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304257" y="4058849"/>
            <a:ext cx="328612" cy="38449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  <a:extLst/>
        </p:spPr>
        <p:txBody>
          <a:bodyPr wrap="none" anchor="ctr"/>
          <a:lstStyle/>
          <a:p>
            <a:pPr algn="ctr" eaLnBrk="0" hangingPunct="0"/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7" name="Freeform 163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2518569" y="3532003"/>
            <a:ext cx="119063" cy="199585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C99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8" name="Group 164"/>
          <p:cNvGrpSpPr>
            <a:grpSpLocks/>
          </p:cNvGrpSpPr>
          <p:nvPr>
            <p:custDataLst>
              <p:tags r:id="rId96"/>
            </p:custDataLst>
          </p:nvPr>
        </p:nvGrpSpPr>
        <p:grpSpPr bwMode="auto">
          <a:xfrm>
            <a:off x="2232819" y="3379379"/>
            <a:ext cx="323850" cy="371287"/>
            <a:chOff x="1486" y="2412"/>
            <a:chExt cx="244" cy="256"/>
          </a:xfrm>
          <a:solidFill>
            <a:srgbClr val="32287D"/>
          </a:solidFill>
        </p:grpSpPr>
        <p:sp>
          <p:nvSpPr>
            <p:cNvPr id="169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0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1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72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73" name="Freeform 169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254082" y="4802892"/>
            <a:ext cx="31750" cy="1027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4" name="Freeform 170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7369969" y="4926166"/>
            <a:ext cx="1588" cy="440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5" name="Line 171"/>
          <p:cNvSpPr>
            <a:spLocks noChangeShapeType="1"/>
          </p:cNvSpPr>
          <p:nvPr>
            <p:custDataLst>
              <p:tags r:id="rId99"/>
            </p:custDataLst>
          </p:nvPr>
        </p:nvSpPr>
        <p:spPr bwMode="auto">
          <a:xfrm flipV="1">
            <a:off x="7460457" y="4924698"/>
            <a:ext cx="1587" cy="1174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6" name="Freeform 172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460457" y="4924698"/>
            <a:ext cx="3175" cy="146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7" name="Freeform 173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58907" y="4434539"/>
            <a:ext cx="22225" cy="26416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8" name="Freeform 174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65257" y="4367032"/>
            <a:ext cx="26987" cy="36689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9" name="Freeform 175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741444" y="4345020"/>
            <a:ext cx="17463" cy="27883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0" name="Freeform 176"/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7660482" y="4232019"/>
            <a:ext cx="68262" cy="127676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1" name="Line 177"/>
          <p:cNvSpPr>
            <a:spLocks noChangeShapeType="1"/>
          </p:cNvSpPr>
          <p:nvPr>
            <p:custDataLst>
              <p:tags r:id="rId105"/>
            </p:custDataLst>
          </p:nvPr>
        </p:nvSpPr>
        <p:spPr bwMode="auto">
          <a:xfrm flipH="1" flipV="1">
            <a:off x="7654132" y="4201201"/>
            <a:ext cx="6350" cy="3081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2" name="Freeform 178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7654132" y="4186525"/>
            <a:ext cx="6350" cy="146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3" name="Line 179"/>
          <p:cNvSpPr>
            <a:spLocks noChangeShapeType="1"/>
          </p:cNvSpPr>
          <p:nvPr>
            <p:custDataLst>
              <p:tags r:id="rId107"/>
            </p:custDataLst>
          </p:nvPr>
        </p:nvSpPr>
        <p:spPr bwMode="auto">
          <a:xfrm flipV="1">
            <a:off x="7660482" y="4174785"/>
            <a:ext cx="0" cy="1174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4" name="Freeform 180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614444" y="4113148"/>
            <a:ext cx="46038" cy="61637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5" name="Freeform 181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628732" y="4060317"/>
            <a:ext cx="1587" cy="46961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6" name="Freeform 182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35082" y="4054447"/>
            <a:ext cx="7937" cy="33753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7" name="Freeform 183"/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7650957" y="4036836"/>
            <a:ext cx="1587" cy="20546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8" name="Line 184"/>
          <p:cNvSpPr>
            <a:spLocks noChangeShapeType="1"/>
          </p:cNvSpPr>
          <p:nvPr>
            <p:custDataLst>
              <p:tags r:id="rId112"/>
            </p:custDataLst>
          </p:nvPr>
        </p:nvSpPr>
        <p:spPr bwMode="auto">
          <a:xfrm flipV="1">
            <a:off x="7650957" y="4054447"/>
            <a:ext cx="1587" cy="293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9" name="Freeform 185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635082" y="4039771"/>
            <a:ext cx="1587" cy="146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0" name="Freeform 186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355682" y="4954048"/>
            <a:ext cx="96837" cy="80715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1" name="Freeform 187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493794" y="4232019"/>
            <a:ext cx="3175" cy="1614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2" name="Freeform 188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27119" y="4160110"/>
            <a:ext cx="15875" cy="146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3" name="Freeform 189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442994" y="4079395"/>
            <a:ext cx="3175" cy="880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4" name="Freeform 190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282657" y="4082330"/>
            <a:ext cx="36512" cy="20546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5" name="Freeform 191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527132" y="4510851"/>
            <a:ext cx="1587" cy="1320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6" name="Freeform 192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6763544" y="4054447"/>
            <a:ext cx="1019175" cy="839433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7" name="Freeform 193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1250157" y="2821713"/>
            <a:ext cx="668337" cy="537120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8" name="Freeform 194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524919" y="4337682"/>
            <a:ext cx="211138" cy="245080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C99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9" name="Freeform 195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694782" y="3602445"/>
            <a:ext cx="73025" cy="101260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0" name="Freeform 196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209007" y="3194468"/>
            <a:ext cx="69850" cy="54299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1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40794" y="5351752"/>
            <a:ext cx="34925" cy="54299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2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40794" y="5332674"/>
            <a:ext cx="22225" cy="55767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3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510632" y="5326804"/>
            <a:ext cx="25400" cy="55767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4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85232" y="5317998"/>
            <a:ext cx="28575" cy="54299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5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61419" y="5306258"/>
            <a:ext cx="33338" cy="52831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6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55069" y="5288647"/>
            <a:ext cx="30163" cy="52831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7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55057" y="5002478"/>
            <a:ext cx="25400" cy="55767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8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85219" y="5090530"/>
            <a:ext cx="17463" cy="49896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9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89982" y="5111076"/>
            <a:ext cx="7937" cy="54299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0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404269" y="5168309"/>
            <a:ext cx="17463" cy="55767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1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91569" y="5180050"/>
            <a:ext cx="26988" cy="54299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2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421732" y="5210868"/>
            <a:ext cx="11112" cy="54299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3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418557" y="5241686"/>
            <a:ext cx="20637" cy="51364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4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42369" y="5254895"/>
            <a:ext cx="17463" cy="52831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5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43957" y="5281310"/>
            <a:ext cx="6350" cy="52831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6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518569" y="5345882"/>
            <a:ext cx="34925" cy="52831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7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56669" y="5291583"/>
            <a:ext cx="123825" cy="92455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8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108994" y="3226754"/>
            <a:ext cx="52388" cy="54299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9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66119" y="3099078"/>
            <a:ext cx="250825" cy="101261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0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70919" y="3194468"/>
            <a:ext cx="88900" cy="64572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1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39119" y="3250235"/>
            <a:ext cx="33338" cy="77779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2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64506" y="3255144"/>
            <a:ext cx="93663" cy="135014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3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807369" y="3352963"/>
            <a:ext cx="71438" cy="52831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4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39119" y="3317742"/>
            <a:ext cx="142875" cy="80714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5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56582" y="3345625"/>
            <a:ext cx="125412" cy="113001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6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907382" y="3449820"/>
            <a:ext cx="84137" cy="92455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7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88344" y="3499717"/>
            <a:ext cx="142875" cy="73377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8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69382" y="4659073"/>
            <a:ext cx="133350" cy="143819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9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215607" y="1531745"/>
            <a:ext cx="236537" cy="85117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0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42582" y="1744539"/>
            <a:ext cx="449262" cy="334599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1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82307" y="2522335"/>
            <a:ext cx="49212" cy="83649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2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90207" y="2374113"/>
            <a:ext cx="84137" cy="54299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3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128294" y="2206814"/>
            <a:ext cx="84138" cy="67507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4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109244" y="2265515"/>
            <a:ext cx="84138" cy="52831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5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69657" y="2777687"/>
            <a:ext cx="33337" cy="121805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6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818857" y="2826115"/>
            <a:ext cx="69850" cy="120338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8A66CC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7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820319" y="2136372"/>
            <a:ext cx="96838" cy="133547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632994" y="2978740"/>
            <a:ext cx="306388" cy="36101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C99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9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48882" y="3034506"/>
            <a:ext cx="414337" cy="432925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0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47307" y="2670556"/>
            <a:ext cx="493712" cy="535653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1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83869" y="2795298"/>
            <a:ext cx="384175" cy="403573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2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236244" y="2670556"/>
            <a:ext cx="93663" cy="218664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3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618707" y="2958194"/>
            <a:ext cx="231775" cy="199585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4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86957" y="1856072"/>
            <a:ext cx="190500" cy="86584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5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79119" y="2099684"/>
            <a:ext cx="14288" cy="52831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6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66407" y="1788565"/>
            <a:ext cx="234950" cy="36541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7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404519" y="2079138"/>
            <a:ext cx="26988" cy="52831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8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48894" y="2228827"/>
            <a:ext cx="28575" cy="52831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9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801394" y="2717518"/>
            <a:ext cx="50800" cy="52831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0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409282" y="3449820"/>
            <a:ext cx="325437" cy="226001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1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45782" y="3605380"/>
            <a:ext cx="500062" cy="510704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2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82282" y="3697834"/>
            <a:ext cx="55562" cy="51364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3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64819" y="3697834"/>
            <a:ext cx="152400" cy="186378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4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98219" y="4072057"/>
            <a:ext cx="260350" cy="481353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5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533107" y="4293655"/>
            <a:ext cx="238125" cy="265625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6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106194" y="4110213"/>
            <a:ext cx="196850" cy="402106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7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82344" y="3831381"/>
            <a:ext cx="36513" cy="61637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8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71232" y="3794692"/>
            <a:ext cx="55562" cy="55767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9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80794" y="2592777"/>
            <a:ext cx="503238" cy="437327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0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104607" y="3200339"/>
            <a:ext cx="247650" cy="211326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1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351837" y="3009212"/>
            <a:ext cx="120650" cy="111533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2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87132" y="2670556"/>
            <a:ext cx="222250" cy="243612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3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87194" y="2633868"/>
            <a:ext cx="331788" cy="268559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4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518944" y="2679361"/>
            <a:ext cx="365125" cy="391834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5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309519" y="2927376"/>
            <a:ext cx="220663" cy="541522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6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632994" y="3398456"/>
            <a:ext cx="80963" cy="54299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7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717132" y="3474768"/>
            <a:ext cx="74612" cy="92455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8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59994" y="3521729"/>
            <a:ext cx="104775" cy="121806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9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74307" y="3446885"/>
            <a:ext cx="104775" cy="186377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0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626644" y="3369105"/>
            <a:ext cx="87313" cy="54299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1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52094" y="3441015"/>
            <a:ext cx="42863" cy="143819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2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77494" y="3405794"/>
            <a:ext cx="76200" cy="174637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3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806157" y="4519657"/>
            <a:ext cx="25400" cy="55767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4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701382" y="4609177"/>
            <a:ext cx="61912" cy="52831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5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919119" y="2495919"/>
            <a:ext cx="120650" cy="158494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6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90432" y="2878947"/>
            <a:ext cx="206375" cy="114468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7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206332" y="2930311"/>
            <a:ext cx="73025" cy="60169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8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96807" y="2996350"/>
            <a:ext cx="133350" cy="154092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9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514307" y="3103481"/>
            <a:ext cx="201612" cy="249482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0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96857" y="3335352"/>
            <a:ext cx="133350" cy="120338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1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98494" y="2629465"/>
            <a:ext cx="85725" cy="120338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2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66819" y="3828446"/>
            <a:ext cx="231775" cy="234806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3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58907" y="3813770"/>
            <a:ext cx="106362" cy="118870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4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6034882" y="3474768"/>
            <a:ext cx="63500" cy="110066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85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74682" y="3207676"/>
            <a:ext cx="233362" cy="406509"/>
            <a:chOff x="5062" y="2295"/>
            <a:chExt cx="177" cy="279"/>
          </a:xfrm>
          <a:solidFill>
            <a:srgbClr val="7030A0"/>
          </a:solidFill>
        </p:grpSpPr>
        <p:sp>
          <p:nvSpPr>
            <p:cNvPr id="286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87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88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89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0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1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2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3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4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5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6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7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C99F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8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99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0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1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2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3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4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5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6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7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8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09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10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319169" y="3964926"/>
            <a:ext cx="14288" cy="51364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1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95369" y="3909160"/>
            <a:ext cx="22225" cy="54299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2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42994" y="3797627"/>
            <a:ext cx="23813" cy="52831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3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427119" y="3769744"/>
            <a:ext cx="25400" cy="52831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4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52494" y="3674354"/>
            <a:ext cx="7938" cy="52831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5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79469" y="3799095"/>
            <a:ext cx="30163" cy="54299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6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87407" y="3970797"/>
            <a:ext cx="19050" cy="51364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7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300119" y="3803497"/>
            <a:ext cx="11113" cy="52831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8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60419" y="3799095"/>
            <a:ext cx="19050" cy="54299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9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204869" y="3843121"/>
            <a:ext cx="30163" cy="52831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0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006432" y="4030966"/>
            <a:ext cx="46037" cy="54299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1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104857" y="4066187"/>
            <a:ext cx="14287" cy="54299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2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938169" y="4003083"/>
            <a:ext cx="36513" cy="51364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3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82619" y="3989875"/>
            <a:ext cx="39688" cy="51363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4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035007" y="3998680"/>
            <a:ext cx="36512" cy="54299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5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87394" y="4003083"/>
            <a:ext cx="25400" cy="51364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6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60419" y="3995745"/>
            <a:ext cx="1588" cy="51363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7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734969" y="3824043"/>
            <a:ext cx="20638" cy="54299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8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80994" y="3799095"/>
            <a:ext cx="30163" cy="54299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29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515894" y="3784420"/>
            <a:ext cx="7938" cy="52831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0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41294" y="3818172"/>
            <a:ext cx="4763" cy="587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1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538119" y="3818172"/>
            <a:ext cx="7938" cy="52831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2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39694" y="3674354"/>
            <a:ext cx="22225" cy="52831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3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68332" y="4010421"/>
            <a:ext cx="11112" cy="52831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4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84269" y="3970797"/>
            <a:ext cx="28575" cy="51364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5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422232" y="3584834"/>
            <a:ext cx="274637" cy="340469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6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63544" y="3630327"/>
            <a:ext cx="254000" cy="237741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7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119144" y="4006018"/>
            <a:ext cx="92075" cy="52831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8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235032" y="3697834"/>
            <a:ext cx="42862" cy="82182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39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47732" y="3831381"/>
            <a:ext cx="71437" cy="51363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0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323932" y="3760939"/>
            <a:ext cx="85725" cy="58702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1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012782" y="3703704"/>
            <a:ext cx="166687" cy="212794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2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77819" y="3926770"/>
            <a:ext cx="250825" cy="88052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3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58857" y="3794692"/>
            <a:ext cx="214312" cy="233339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4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90419" y="2714582"/>
            <a:ext cx="53975" cy="55767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5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47369" y="2164255"/>
            <a:ext cx="220663" cy="164364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6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410869" y="2353568"/>
            <a:ext cx="146050" cy="66040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7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510882" y="2035112"/>
            <a:ext cx="111125" cy="60169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8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523582" y="2356503"/>
            <a:ext cx="179387" cy="132079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9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523332" y="3316274"/>
            <a:ext cx="14287" cy="51364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0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628357" y="2349165"/>
            <a:ext cx="85725" cy="73377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1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45807" y="2240568"/>
            <a:ext cx="381000" cy="228936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2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56982" y="2557556"/>
            <a:ext cx="47625" cy="58702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3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99907" y="2570764"/>
            <a:ext cx="207962" cy="113001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49119" y="2504725"/>
            <a:ext cx="225425" cy="115935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5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55419" y="2519400"/>
            <a:ext cx="342900" cy="209858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6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64844" y="2415204"/>
            <a:ext cx="107950" cy="137949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7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512469" y="2514997"/>
            <a:ext cx="68263" cy="55767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8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96607" y="3091741"/>
            <a:ext cx="411162" cy="565002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9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80794" y="3405794"/>
            <a:ext cx="244475" cy="399171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0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88732" y="3394054"/>
            <a:ext cx="38100" cy="54299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1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87119" y="3311872"/>
            <a:ext cx="363538" cy="34780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2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47044" y="3791757"/>
            <a:ext cx="4763" cy="73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3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47044" y="3799095"/>
            <a:ext cx="12700" cy="54299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4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54982" y="3787355"/>
            <a:ext cx="4762" cy="52831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65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47044" y="3727185"/>
            <a:ext cx="417513" cy="186378"/>
            <a:chOff x="912" y="2626"/>
            <a:chExt cx="311" cy="127"/>
          </a:xfrm>
          <a:solidFill>
            <a:srgbClr val="32287D"/>
          </a:solidFill>
        </p:grpSpPr>
        <p:sp>
          <p:nvSpPr>
            <p:cNvPr id="366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7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8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69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95119" y="4390513"/>
            <a:ext cx="19050" cy="54299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0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66544" y="4415462"/>
            <a:ext cx="23813" cy="52831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71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207794" y="3945849"/>
            <a:ext cx="168275" cy="95390"/>
            <a:chOff x="3481" y="2773"/>
            <a:chExt cx="125" cy="65"/>
          </a:xfrm>
        </p:grpSpPr>
        <p:sp>
          <p:nvSpPr>
            <p:cNvPr id="372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3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4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5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6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7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8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9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0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1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2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83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336257" y="3938511"/>
            <a:ext cx="319087" cy="35074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4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47369" y="3913563"/>
            <a:ext cx="15875" cy="55767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5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48969" y="4415462"/>
            <a:ext cx="396875" cy="36835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6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96607" y="3091741"/>
            <a:ext cx="411162" cy="565002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7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80582" y="3278118"/>
            <a:ext cx="80962" cy="76312"/>
            <a:chOff x="2352" y="2343"/>
            <a:chExt cx="65" cy="53"/>
          </a:xfrm>
        </p:grpSpPr>
        <p:sp>
          <p:nvSpPr>
            <p:cNvPr id="388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89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0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1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2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3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394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226344" y="1484784"/>
            <a:ext cx="1897063" cy="1047824"/>
            <a:chOff x="527" y="1110"/>
            <a:chExt cx="1410" cy="709"/>
          </a:xfrm>
          <a:solidFill>
            <a:srgbClr val="32287D"/>
          </a:solidFill>
        </p:grpSpPr>
        <p:sp>
          <p:nvSpPr>
            <p:cNvPr id="395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6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7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8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99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0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1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2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3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4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5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6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7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8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09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0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1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2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3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4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5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6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7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8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19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0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1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2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3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4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5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6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7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8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9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0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1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2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3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4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5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36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437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96632" y="3652341"/>
            <a:ext cx="127000" cy="146754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8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902994" y="3791757"/>
            <a:ext cx="6350" cy="52831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9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93407" y="3085871"/>
            <a:ext cx="249237" cy="462275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0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126428" y="2511733"/>
            <a:ext cx="15875" cy="52831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41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69344" y="4419864"/>
            <a:ext cx="384175" cy="953901"/>
            <a:chOff x="1589" y="3126"/>
            <a:chExt cx="290" cy="657"/>
          </a:xfrm>
          <a:solidFill>
            <a:srgbClr val="32287D"/>
          </a:solidFill>
        </p:grpSpPr>
        <p:sp>
          <p:nvSpPr>
            <p:cNvPr id="442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3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4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</a:pPr>
              <a:endParaRPr lang="de-DE" sz="800" b="1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445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79207" y="2526737"/>
            <a:ext cx="123825" cy="101261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6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45807" y="2131970"/>
            <a:ext cx="209550" cy="139416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7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402932" y="2438685"/>
            <a:ext cx="82550" cy="80715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8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67807" y="3766809"/>
            <a:ext cx="82550" cy="52831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9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61682" y="2470971"/>
            <a:ext cx="133350" cy="89520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0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917157" y="3328014"/>
            <a:ext cx="177800" cy="152624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1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64819" y="3391119"/>
            <a:ext cx="193675" cy="322859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2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715919" y="3168053"/>
            <a:ext cx="55563" cy="52831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3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70894" y="3411664"/>
            <a:ext cx="298450" cy="484288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4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323557" y="3659678"/>
            <a:ext cx="187325" cy="253885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5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55307" y="2404932"/>
            <a:ext cx="127000" cy="105663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6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306094" y="2274320"/>
            <a:ext cx="168275" cy="71910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7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69582" y="2140775"/>
            <a:ext cx="30162" cy="55767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8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41007" y="2145177"/>
            <a:ext cx="25400" cy="54299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9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210844" y="2095281"/>
            <a:ext cx="52388" cy="71910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0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42644" y="2839324"/>
            <a:ext cx="273050" cy="284703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1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237832" y="2501790"/>
            <a:ext cx="17462" cy="52831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7030A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2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934340" y="2268121"/>
            <a:ext cx="295275" cy="252417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3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58557" y="2488581"/>
            <a:ext cx="150812" cy="76312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4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507707" y="2544348"/>
            <a:ext cx="147637" cy="159962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5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91844" y="2721921"/>
            <a:ext cx="69850" cy="52831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6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71094" y="3398456"/>
            <a:ext cx="187325" cy="146754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7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715794" y="2717518"/>
            <a:ext cx="692150" cy="808615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8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837782" y="3452756"/>
            <a:ext cx="158750" cy="190780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9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906169" y="3633262"/>
            <a:ext cx="192088" cy="250950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0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88707" y="2787959"/>
            <a:ext cx="101600" cy="120338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1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87157" y="2883350"/>
            <a:ext cx="22225" cy="51363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2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74369" y="2083540"/>
            <a:ext cx="161925" cy="61637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3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85532" y="2749803"/>
            <a:ext cx="30162" cy="52831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4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701382" y="4609177"/>
            <a:ext cx="61912" cy="52831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5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72782" y="2127566"/>
            <a:ext cx="131762" cy="77780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6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79094" y="2299269"/>
            <a:ext cx="19050" cy="55767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7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76007" y="4041239"/>
            <a:ext cx="69850" cy="223066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8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68007" y="2720453"/>
            <a:ext cx="14287" cy="52831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9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87094" y="4218811"/>
            <a:ext cx="188913" cy="201053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0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99782" y="4011888"/>
            <a:ext cx="293687" cy="277366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1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336257" y="4264305"/>
            <a:ext cx="350837" cy="35221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2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615532" y="3275183"/>
            <a:ext cx="161925" cy="130612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3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88694" y="3794692"/>
            <a:ext cx="269875" cy="309651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4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52507" y="2421074"/>
            <a:ext cx="19050" cy="52831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5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211219" y="2422542"/>
            <a:ext cx="141288" cy="115935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6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81057" y="2749803"/>
            <a:ext cx="52387" cy="52831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7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127082" y="2763012"/>
            <a:ext cx="60325" cy="77779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8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42957" y="2542881"/>
            <a:ext cx="209550" cy="226001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9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726782" y="1517070"/>
            <a:ext cx="107950" cy="55767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0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69657" y="1500927"/>
            <a:ext cx="63500" cy="52831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1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906169" y="1508265"/>
            <a:ext cx="130175" cy="52831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2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39569" y="1679967"/>
            <a:ext cx="41275" cy="52831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3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49082" y="1549356"/>
            <a:ext cx="15875" cy="54299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4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71307" y="1511200"/>
            <a:ext cx="14287" cy="55767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5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515769" y="1618331"/>
            <a:ext cx="17463" cy="52831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6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69744" y="1511200"/>
            <a:ext cx="93663" cy="55767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7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630069" y="1534680"/>
            <a:ext cx="103188" cy="55767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8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47544" y="1547889"/>
            <a:ext cx="82550" cy="52831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9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74594" y="1663824"/>
            <a:ext cx="79375" cy="54299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0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41269" y="1679967"/>
            <a:ext cx="33338" cy="52831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1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71432" y="1690240"/>
            <a:ext cx="52387" cy="54299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2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42832" y="1665292"/>
            <a:ext cx="61912" cy="54299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3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42869" y="1610992"/>
            <a:ext cx="139700" cy="52831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4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603207" y="1618331"/>
            <a:ext cx="95250" cy="52831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5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63519" y="1662357"/>
            <a:ext cx="63500" cy="54299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6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42882" y="1659422"/>
            <a:ext cx="20637" cy="54299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7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44469" y="1657954"/>
            <a:ext cx="0" cy="146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8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714207" y="1591915"/>
            <a:ext cx="11112" cy="51363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9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63507" y="1657954"/>
            <a:ext cx="9525" cy="52831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0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417469" y="1624201"/>
            <a:ext cx="9525" cy="52831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1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917532" y="2151047"/>
            <a:ext cx="12700" cy="54299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2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211219" y="1709318"/>
            <a:ext cx="55563" cy="54299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3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47744" y="2035112"/>
            <a:ext cx="14288" cy="52831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4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96969" y="2139307"/>
            <a:ext cx="42863" cy="55767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5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47769" y="2153982"/>
            <a:ext cx="19050" cy="54299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6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412832" y="2271385"/>
            <a:ext cx="14287" cy="52831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7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423944" y="2297801"/>
            <a:ext cx="3175" cy="55767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8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411244" y="2374113"/>
            <a:ext cx="9525" cy="51364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9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89019" y="2406399"/>
            <a:ext cx="0" cy="54299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0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89019" y="2406399"/>
            <a:ext cx="7938" cy="54299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8A66CC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1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42957" y="2024839"/>
            <a:ext cx="17462" cy="55767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2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58494" y="2153982"/>
            <a:ext cx="47625" cy="54299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3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907757" y="1776825"/>
            <a:ext cx="42862" cy="54299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4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42682" y="1603655"/>
            <a:ext cx="228600" cy="151156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5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734719" y="1891293"/>
            <a:ext cx="31750" cy="51363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6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39769" y="2165723"/>
            <a:ext cx="196850" cy="248015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27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830094" y="2124631"/>
            <a:ext cx="671513" cy="355145"/>
            <a:chOff x="4115" y="1551"/>
            <a:chExt cx="504" cy="244"/>
          </a:xfrm>
          <a:solidFill>
            <a:srgbClr val="8A66CC"/>
          </a:solidFill>
        </p:grpSpPr>
        <p:sp>
          <p:nvSpPr>
            <p:cNvPr id="528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29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30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87119" y="2817310"/>
            <a:ext cx="530225" cy="472548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C99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1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61657" y="2396127"/>
            <a:ext cx="57150" cy="52831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2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101307" y="2592777"/>
            <a:ext cx="15875" cy="52831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3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93319" y="2912701"/>
            <a:ext cx="28575" cy="52831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4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634582" y="2927376"/>
            <a:ext cx="23812" cy="55767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5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609182" y="2921506"/>
            <a:ext cx="6350" cy="52831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6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80769" y="2670556"/>
            <a:ext cx="174625" cy="146754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7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74682" y="3022766"/>
            <a:ext cx="42862" cy="73377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32287D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8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622007" y="2531140"/>
            <a:ext cx="482600" cy="186377"/>
            <a:chOff x="3289" y="1830"/>
            <a:chExt cx="363" cy="128"/>
          </a:xfrm>
          <a:solidFill>
            <a:srgbClr val="32287D"/>
          </a:solidFill>
        </p:grpSpPr>
        <p:sp>
          <p:nvSpPr>
            <p:cNvPr id="539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0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1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2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43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dirty="0">
                <a:solidFill>
                  <a:srgbClr val="32287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544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610644" y="3596574"/>
            <a:ext cx="100013" cy="113000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5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55582" y="3075597"/>
            <a:ext cx="207962" cy="424120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C99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6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42894" y="3709575"/>
            <a:ext cx="25400" cy="52831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7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334794" y="3024234"/>
            <a:ext cx="174625" cy="250949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8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61619" y="3074130"/>
            <a:ext cx="376238" cy="35661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49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731419" y="2720453"/>
            <a:ext cx="300038" cy="240677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0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431507" y="1731331"/>
            <a:ext cx="236537" cy="85117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1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42682" y="1716655"/>
            <a:ext cx="107950" cy="55767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2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85557" y="1700513"/>
            <a:ext cx="63500" cy="52831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3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122069" y="1707850"/>
            <a:ext cx="130175" cy="52831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32287D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4" name="Textfeld 553"/>
          <p:cNvSpPr txBox="1"/>
          <p:nvPr/>
        </p:nvSpPr>
        <p:spPr>
          <a:xfrm>
            <a:off x="868164" y="4989591"/>
            <a:ext cx="1885355" cy="307777"/>
          </a:xfrm>
          <a:prstGeom prst="rect">
            <a:avLst/>
          </a:prstGeom>
          <a:noFill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TRC Mitglieder</a:t>
            </a:r>
            <a:endParaRPr lang="de-DE" sz="1200" dirty="0">
              <a:solidFill>
                <a:srgbClr val="32287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5" name="Textfeld 554"/>
          <p:cNvSpPr txBox="1"/>
          <p:nvPr/>
        </p:nvSpPr>
        <p:spPr>
          <a:xfrm>
            <a:off x="868164" y="5261721"/>
            <a:ext cx="1934009" cy="307777"/>
          </a:xfrm>
          <a:prstGeom prst="rect">
            <a:avLst/>
          </a:prstGeom>
          <a:noFill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rvice Partner</a:t>
            </a:r>
            <a:endParaRPr lang="de-DE" sz="1200" dirty="0">
              <a:solidFill>
                <a:srgbClr val="32287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6" name="Textfeld 555"/>
          <p:cNvSpPr txBox="1"/>
          <p:nvPr/>
        </p:nvSpPr>
        <p:spPr>
          <a:xfrm>
            <a:off x="868164" y="5514106"/>
            <a:ext cx="1442444" cy="307777"/>
          </a:xfrm>
          <a:prstGeom prst="rect">
            <a:avLst/>
          </a:prstGeom>
          <a:noFill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32287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ervicekontakte</a:t>
            </a:r>
            <a:endParaRPr lang="en-US" sz="1200" dirty="0">
              <a:solidFill>
                <a:srgbClr val="32287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7" name="Rechteck 556"/>
          <p:cNvSpPr/>
          <p:nvPr/>
        </p:nvSpPr>
        <p:spPr>
          <a:xfrm>
            <a:off x="613569" y="5078944"/>
            <a:ext cx="288032" cy="152400"/>
          </a:xfrm>
          <a:prstGeom prst="rect">
            <a:avLst/>
          </a:prstGeom>
          <a:solidFill>
            <a:srgbClr val="32287D"/>
          </a:solidFill>
          <a:ln w="9525" cmpd="sng">
            <a:noFill/>
            <a:prstDash val="solid"/>
            <a:round/>
            <a:headEnd/>
            <a:tailEnd/>
          </a:ln>
        </p:spPr>
        <p:txBody>
          <a:bodyPr wrap="none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 sz="800" b="1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8" name="Rechteck 557"/>
          <p:cNvSpPr/>
          <p:nvPr/>
        </p:nvSpPr>
        <p:spPr>
          <a:xfrm>
            <a:off x="613569" y="5348031"/>
            <a:ext cx="288032" cy="158024"/>
          </a:xfrm>
          <a:prstGeom prst="rect">
            <a:avLst/>
          </a:prstGeom>
          <a:solidFill>
            <a:srgbClr val="CC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9" name="Rechteck 558"/>
          <p:cNvSpPr/>
          <p:nvPr/>
        </p:nvSpPr>
        <p:spPr>
          <a:xfrm>
            <a:off x="613569" y="5600692"/>
            <a:ext cx="288032" cy="15802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32287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338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-1039823" y="4772296"/>
            <a:ext cx="11216508" cy="23229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51213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8383F-BB91-4965-A1A7-9D275196FF5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A5BDC1-CE8B-4009-80B6-196446CA5099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9628" y="365126"/>
            <a:ext cx="2535722" cy="1042049"/>
          </a:xfrm>
          <a:prstGeom prst="rect">
            <a:avLst/>
          </a:prstGeom>
        </p:spPr>
      </p:pic>
      <p:sp>
        <p:nvSpPr>
          <p:cNvPr id="10" name="Titel 1"/>
          <p:cNvSpPr txBox="1">
            <a:spLocks/>
          </p:cNvSpPr>
          <p:nvPr userDrawn="1"/>
        </p:nvSpPr>
        <p:spPr>
          <a:xfrm>
            <a:off x="3488311" y="6279098"/>
            <a:ext cx="2969639" cy="544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1600" b="1" dirty="0" smtClean="0">
                <a:solidFill>
                  <a:srgbClr val="B9766B"/>
                </a:solidFill>
              </a:rPr>
              <a:t>PRODUCER MEETING</a:t>
            </a:r>
            <a:endParaRPr lang="de-DE" sz="1600" b="1" dirty="0">
              <a:solidFill>
                <a:srgbClr val="B9766B"/>
              </a:solidFill>
            </a:endParaRPr>
          </a:p>
        </p:txBody>
      </p:sp>
      <p:sp>
        <p:nvSpPr>
          <p:cNvPr id="11" name="Titel 1"/>
          <p:cNvSpPr txBox="1">
            <a:spLocks/>
          </p:cNvSpPr>
          <p:nvPr userDrawn="1"/>
        </p:nvSpPr>
        <p:spPr>
          <a:xfrm>
            <a:off x="2194389" y="6349828"/>
            <a:ext cx="2187590" cy="402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baseline="0">
                <a:solidFill>
                  <a:schemeClr val="bg1"/>
                </a:solidFill>
                <a:latin typeface="Montserrat" pitchFamily="2" charset="0"/>
                <a:ea typeface="+mj-ea"/>
                <a:cs typeface="+mj-cs"/>
              </a:defRPr>
            </a:lvl1pPr>
          </a:lstStyle>
          <a:p>
            <a:r>
              <a:rPr lang="de-DE" sz="1600" b="0" dirty="0" smtClean="0">
                <a:solidFill>
                  <a:srgbClr val="B9766B"/>
                </a:solidFill>
              </a:rPr>
              <a:t>GERMAN</a:t>
            </a:r>
            <a:endParaRPr lang="de-DE" sz="2000" b="0" dirty="0">
              <a:solidFill>
                <a:srgbClr val="B976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57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14" r:id="rId2"/>
    <p:sldLayoutId id="2147483700" r:id="rId3"/>
    <p:sldLayoutId id="2147483703" r:id="rId4"/>
    <p:sldLayoutId id="2147483704" r:id="rId5"/>
    <p:sldLayoutId id="2147483710" r:id="rId6"/>
    <p:sldLayoutId id="2147483861" r:id="rId7"/>
    <p:sldLayoutId id="2147483862" r:id="rId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7640" y="2162226"/>
            <a:ext cx="6608721" cy="680727"/>
          </a:xfrm>
        </p:spPr>
        <p:txBody>
          <a:bodyPr>
            <a:normAutofit/>
          </a:bodyPr>
          <a:lstStyle/>
          <a:p>
            <a:r>
              <a:rPr lang="de-DE" sz="3200" b="1" dirty="0" smtClean="0">
                <a:solidFill>
                  <a:srgbClr val="B9766B"/>
                </a:solidFill>
                <a:latin typeface="Montserrat" pitchFamily="2" charset="0"/>
              </a:rPr>
              <a:t>WILLKOMMEN ZUM 1.</a:t>
            </a:r>
            <a:endParaRPr lang="de-DE" sz="3200" b="1" dirty="0">
              <a:solidFill>
                <a:srgbClr val="B9766B"/>
              </a:solidFill>
              <a:latin typeface="Montserrat" pitchFamily="2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7566" y="6325985"/>
            <a:ext cx="1723801" cy="382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753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1041455"/>
            <a:ext cx="5319069" cy="1325563"/>
          </a:xfrm>
        </p:spPr>
        <p:txBody>
          <a:bodyPr>
            <a:normAutofit fontScale="90000"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3100" dirty="0" smtClean="0"/>
              <a:t>ARGENTINIEN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800" dirty="0" smtClean="0"/>
              <a:t>– </a:t>
            </a:r>
            <a:r>
              <a:rPr lang="de-DE" sz="2700" dirty="0" smtClean="0"/>
              <a:t>Neue Rückversicherungssteuer</a:t>
            </a:r>
            <a:endParaRPr lang="de-DE" sz="2700" dirty="0"/>
          </a:p>
        </p:txBody>
      </p:sp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628650" y="2543434"/>
            <a:ext cx="8038012" cy="2310938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Die Steuer kann zwischen 5% und 25% variieren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Zurich und Chubb Argentinien erheben die Steuer </a:t>
            </a:r>
            <a:r>
              <a:rPr lang="de-DE" sz="1800" dirty="0" smtClean="0"/>
              <a:t>noch nicht</a:t>
            </a:r>
            <a:endParaRPr lang="de-DE" sz="1800" dirty="0"/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HDI akzeptiert nur USD Prämien auf ein USD Konto in </a:t>
            </a:r>
            <a:r>
              <a:rPr lang="de-DE" sz="1800" dirty="0" smtClean="0"/>
              <a:t>den USA</a:t>
            </a:r>
            <a:endParaRPr lang="de-DE" sz="1800" dirty="0"/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Aus Argentinien heraus ist das nicht möglich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USD Prämie muss dann von der </a:t>
            </a:r>
            <a:r>
              <a:rPr lang="de-DE" sz="1800" dirty="0" smtClean="0"/>
              <a:t>Muttergesellschaft bezahlt </a:t>
            </a:r>
            <a:r>
              <a:rPr lang="de-DE" sz="1800" dirty="0"/>
              <a:t>werd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4B8484-D9B4-4C2A-B024-4ABB859A431D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0</a:t>
            </a:fld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562793" cy="104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53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>
                <a:latin typeface="Montserrat ExtraBold" pitchFamily="2" charset="0"/>
              </a:rPr>
              <a:t>INDI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>
                <a:latin typeface="Montserrat Light" pitchFamily="2" charset="0"/>
              </a:rPr>
              <a:t>MARIANKA FLIZIK</a:t>
            </a:r>
          </a:p>
          <a:p>
            <a:r>
              <a:rPr lang="de-DE" dirty="0" smtClean="0">
                <a:latin typeface="Montserrat Light" pitchFamily="2" charset="0"/>
              </a:rPr>
              <a:t>TRUST RISK CONTROL</a:t>
            </a:r>
            <a:endParaRPr lang="de-DE" dirty="0">
              <a:latin typeface="Montserrat Light" pitchFamily="2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2A075-517D-4620-8A50-13A807183F29}" type="datetime1">
              <a:rPr lang="de-DE" smtClean="0"/>
              <a:t>25.06.2024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1</a:t>
            </a:fld>
            <a:endParaRPr lang="de-DE"/>
          </a:p>
        </p:txBody>
      </p:sp>
      <p:pic>
        <p:nvPicPr>
          <p:cNvPr id="1026" name="Picture 2" descr="Flagge Von Indien Stock Vektor Art und mehr Bilder von Indische Flagge -  Indische Flagge, Indien, Flagge - iStoc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234" y="3619921"/>
            <a:ext cx="2272443" cy="151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554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Flagge Von Indien Stock Vektor Art und mehr Bilder von Indische Flagge -  Indische Flagge, Indien, Flagge - iStoc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62793" cy="1041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784962"/>
            <a:ext cx="5319069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INDIEN </a:t>
            </a:r>
            <a:r>
              <a:rPr lang="de-DE" sz="2800" dirty="0"/>
              <a:t>- </a:t>
            </a:r>
            <a:r>
              <a:rPr lang="de-DE" sz="2800" dirty="0" smtClean="0"/>
              <a:t>Tarifmarkt</a:t>
            </a:r>
            <a:endParaRPr lang="de-DE" sz="2800" dirty="0"/>
          </a:p>
        </p:txBody>
      </p:sp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566058" y="1825625"/>
            <a:ext cx="8038012" cy="3718964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indent="-342900"/>
            <a:r>
              <a:rPr lang="de-DE" sz="1800" dirty="0" smtClean="0"/>
              <a:t>Indian </a:t>
            </a:r>
            <a:r>
              <a:rPr lang="de-DE" sz="1800" dirty="0"/>
              <a:t>Insurance Regulator (IRDAI) kündigte am 20.03.24 an, dass per 01.04.24 eine Deregulierung des Marktes erfolgt</a:t>
            </a:r>
          </a:p>
          <a:p>
            <a:pPr marL="342900" indent="-342900"/>
            <a:r>
              <a:rPr lang="de-DE" sz="1800" dirty="0"/>
              <a:t>Versicherer können ihre Bedingungswerke und auch die Preise künftig frei festlegen</a:t>
            </a:r>
          </a:p>
          <a:p>
            <a:pPr marL="342900" indent="-342900"/>
            <a:r>
              <a:rPr lang="de-DE" sz="1800" dirty="0"/>
              <a:t>Es bleibt abzuwarten, wie sich dies auf den Markt auswirkt</a:t>
            </a:r>
          </a:p>
          <a:p>
            <a:pPr marL="342900" indent="-342900"/>
            <a:r>
              <a:rPr lang="de-DE" sz="1800" dirty="0"/>
              <a:t>Unsere Makler sehen hierin eine Möglichkeit für weiteren Wachstum und Innovationen am indischen Versicherungsmarkt</a:t>
            </a:r>
          </a:p>
          <a:p>
            <a:pPr marL="342900" indent="-342900"/>
            <a:r>
              <a:rPr lang="de-DE" sz="1800" dirty="0"/>
              <a:t>Erste Trends zeigen individueller Wordings aber keine generellen Prämienreduzierungen</a:t>
            </a:r>
          </a:p>
          <a:p>
            <a:pPr marL="342900" indent="-342900"/>
            <a:r>
              <a:rPr lang="de-DE" sz="1800" dirty="0"/>
              <a:t>Für Naturkatastrophen werden auch weiterhin Mindestraten angesetzt, aufgrund des hohen Schadenaufkommen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E34A9-9730-42BC-9C43-D4676F7E2291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184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4831" y="3703876"/>
            <a:ext cx="2294339" cy="153075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 smtClean="0">
                <a:latin typeface="Montserrat ExtraBold" pitchFamily="2" charset="0"/>
              </a:rPr>
              <a:t>VEREINIGTE ARABISCHE EMIRATE</a:t>
            </a:r>
            <a:endParaRPr lang="de-DE" sz="2800" dirty="0">
              <a:latin typeface="Montserrat ExtraBold" pitchFamily="2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>
                <a:latin typeface="Montserrat" pitchFamily="2" charset="0"/>
              </a:rPr>
              <a:t>BERNHARD LIE</a:t>
            </a:r>
          </a:p>
          <a:p>
            <a:r>
              <a:rPr lang="de-DE" dirty="0" smtClean="0">
                <a:latin typeface="Montserrat" pitchFamily="2" charset="0"/>
              </a:rPr>
              <a:t>TRUST RISK CONTROL</a:t>
            </a:r>
            <a:endParaRPr lang="de-DE" dirty="0">
              <a:latin typeface="Montserrat" pitchFamily="2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C31D55-D667-4D7B-A3BD-7BBBC2C04301}" type="datetime1">
              <a:rPr lang="de-DE" smtClean="0"/>
              <a:t>25.06.2024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339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1453027"/>
            <a:ext cx="8182840" cy="743038"/>
          </a:xfrm>
        </p:spPr>
        <p:txBody>
          <a:bodyPr>
            <a:normAutofit/>
          </a:bodyPr>
          <a:lstStyle/>
          <a:p>
            <a:r>
              <a:rPr lang="de-DE" sz="2800" dirty="0" smtClean="0"/>
              <a:t>VAE – Pflicht zur Krankenversicherung</a:t>
            </a:r>
            <a:endParaRPr lang="de-DE" sz="2800" dirty="0"/>
          </a:p>
        </p:txBody>
      </p:sp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628650" y="2849365"/>
            <a:ext cx="8038012" cy="2279587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indent="-342900"/>
            <a:r>
              <a:rPr lang="de-DE" sz="1800" dirty="0"/>
              <a:t>Aktuell gilt die Pflichtversicherung in den Emiraten Dubai und Abu Dhabi</a:t>
            </a:r>
          </a:p>
          <a:p>
            <a:pPr marL="342900" indent="-342900"/>
            <a:r>
              <a:rPr lang="de-DE" sz="1800" dirty="0" smtClean="0"/>
              <a:t>Ab 01.01.25 greift Pflichtversicherung in den weiteren Emiraten: Ajman, Sharja, Umm al-</a:t>
            </a:r>
            <a:r>
              <a:rPr lang="de-DE" sz="1800" dirty="0" err="1" smtClean="0"/>
              <a:t>Qaiwain</a:t>
            </a:r>
            <a:r>
              <a:rPr lang="de-DE" sz="1800" dirty="0" smtClean="0"/>
              <a:t>, Fujairah und Ra‘s Al Khaimah </a:t>
            </a:r>
          </a:p>
          <a:p>
            <a:pPr marL="342900" indent="-342900"/>
            <a:r>
              <a:rPr lang="de-DE" sz="1800" dirty="0" smtClean="0"/>
              <a:t>Einheitlicher Deckungsumfang für alle sieben Emirate noch nicht definiert </a:t>
            </a:r>
            <a:endParaRPr lang="de-DE" sz="18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64A54-4247-409E-BD6F-96BBAC922E73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4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4114800" y="2106328"/>
            <a:ext cx="4551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ab 01.01.2025 in allen Emira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562793" cy="1042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82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628650" y="2849366"/>
            <a:ext cx="8038012" cy="1889659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indent="-342900"/>
            <a:r>
              <a:rPr lang="de-DE" sz="1800" dirty="0"/>
              <a:t>Dubai und Abu Dhabi: Prämien müssen vollständig vom Arbeitgeber getragen werden – keine Weiterbelastung an die Angestellten </a:t>
            </a:r>
          </a:p>
          <a:p>
            <a:pPr marL="342900" indent="-342900"/>
            <a:r>
              <a:rPr lang="de-DE" sz="1800" dirty="0"/>
              <a:t>Dubai und Abu Dhabi: Bußgeld bei Verstoß gegen die Pflichtversicherung im Einzelfall zwischen AED 500 – AED 150.000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D67A88-D2FB-414E-9CAB-29BFE6BCF914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5</a:t>
            </a:fld>
            <a:endParaRPr lang="de-DE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28650" y="1453027"/>
            <a:ext cx="8182840" cy="743038"/>
          </a:xfrm>
        </p:spPr>
        <p:txBody>
          <a:bodyPr>
            <a:normAutofit/>
          </a:bodyPr>
          <a:lstStyle/>
          <a:p>
            <a:r>
              <a:rPr lang="de-DE" sz="2800" dirty="0" smtClean="0"/>
              <a:t>VAE – Pflicht zur Krankenversicherung</a:t>
            </a:r>
            <a:endParaRPr lang="de-DE" sz="2800" dirty="0"/>
          </a:p>
        </p:txBody>
      </p:sp>
      <p:sp>
        <p:nvSpPr>
          <p:cNvPr id="9" name="Textfeld 8"/>
          <p:cNvSpPr txBox="1"/>
          <p:nvPr/>
        </p:nvSpPr>
        <p:spPr>
          <a:xfrm>
            <a:off x="4114800" y="2106328"/>
            <a:ext cx="45518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ab 01.01.2025 in allen Emiraten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562793" cy="1042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636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5106" y="1937611"/>
            <a:ext cx="7886700" cy="1046478"/>
          </a:xfrm>
        </p:spPr>
        <p:txBody>
          <a:bodyPr>
            <a:normAutofit/>
          </a:bodyPr>
          <a:lstStyle/>
          <a:p>
            <a:r>
              <a:rPr lang="de-DE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SemiBold" pitchFamily="2" charset="0"/>
              </a:rPr>
              <a:t>Umwelthaftpflichtversicherung</a:t>
            </a:r>
            <a:endParaRPr lang="de-DE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 SemiBold" pitchFamily="2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509031" y="2984089"/>
            <a:ext cx="6038850" cy="698500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de-DE" sz="2800" dirty="0">
                <a:latin typeface="Montserrat ExtraBold" pitchFamily="2" charset="0"/>
                <a:ea typeface="+mj-ea"/>
                <a:cs typeface="+mj-cs"/>
              </a:rPr>
              <a:t>UNGARN</a:t>
            </a:r>
          </a:p>
        </p:txBody>
      </p:sp>
      <p:pic>
        <p:nvPicPr>
          <p:cNvPr id="13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9019" y="3608297"/>
            <a:ext cx="2678875" cy="152658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platzhalter 2"/>
          <p:cNvSpPr txBox="1">
            <a:spLocks/>
          </p:cNvSpPr>
          <p:nvPr/>
        </p:nvSpPr>
        <p:spPr>
          <a:xfrm>
            <a:off x="628650" y="5256960"/>
            <a:ext cx="6038850" cy="698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latin typeface="Montserrat" pitchFamily="2" charset="0"/>
              </a:rPr>
              <a:t>CLAUDIA ENGEL</a:t>
            </a:r>
          </a:p>
          <a:p>
            <a:r>
              <a:rPr lang="de-DE" dirty="0" smtClean="0">
                <a:latin typeface="Montserrat" pitchFamily="2" charset="0"/>
              </a:rPr>
              <a:t>TRUST RISK CONTROL</a:t>
            </a:r>
            <a:endParaRPr lang="de-DE" dirty="0">
              <a:latin typeface="Montserrat" pitchFamily="2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6F144-9940-43CC-A526-AE529FBCB293}" type="datetime1">
              <a:rPr lang="de-DE" smtClean="0"/>
              <a:t>25.06.2024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372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5"/>
            <a:ext cx="5589270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UNGARN - EU Umweltrichtlinie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16138"/>
            <a:ext cx="8038012" cy="2363990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/>
            <a:r>
              <a:rPr lang="de-DE" sz="1800" dirty="0">
                <a:solidFill>
                  <a:srgbClr val="002060"/>
                </a:solidFill>
              </a:rPr>
              <a:t>Umsetzung der EU Richtlinie 2004/35/EC vom 21.04.2004 </a:t>
            </a:r>
            <a:r>
              <a:rPr lang="de-DE" sz="1800" dirty="0" smtClean="0">
                <a:solidFill>
                  <a:srgbClr val="002060"/>
                </a:solidFill>
              </a:rPr>
              <a:t>durch </a:t>
            </a:r>
            <a:r>
              <a:rPr lang="de-DE" sz="1800" dirty="0">
                <a:solidFill>
                  <a:srgbClr val="002060"/>
                </a:solidFill>
              </a:rPr>
              <a:t>Erlass eines Abfallgesetzes für Abfallverursacher </a:t>
            </a:r>
            <a:r>
              <a:rPr lang="de-DE" sz="1800" dirty="0" smtClean="0">
                <a:solidFill>
                  <a:srgbClr val="002060"/>
                </a:solidFill>
              </a:rPr>
              <a:t>und Abfall-entsorger</a:t>
            </a:r>
            <a:endParaRPr lang="de-DE" sz="1800" dirty="0" smtClean="0"/>
          </a:p>
          <a:p>
            <a:pPr lvl="1"/>
            <a:endParaRPr lang="de-DE" sz="1800" dirty="0" smtClean="0">
              <a:solidFill>
                <a:srgbClr val="002060"/>
              </a:solidFill>
            </a:endParaRPr>
          </a:p>
          <a:p>
            <a:pPr lvl="1"/>
            <a:r>
              <a:rPr lang="de-DE" sz="1800" dirty="0" smtClean="0"/>
              <a:t>Einführung </a:t>
            </a:r>
            <a:r>
              <a:rPr lang="de-DE" sz="1800" dirty="0"/>
              <a:t>einer Pflichtversicherung </a:t>
            </a:r>
            <a:r>
              <a:rPr lang="de-DE" sz="1800" dirty="0" smtClean="0"/>
              <a:t>per 01.01.2024 zur </a:t>
            </a:r>
            <a:r>
              <a:rPr lang="de-DE" sz="1800" dirty="0" err="1" smtClean="0"/>
              <a:t>Finan-zierung</a:t>
            </a:r>
            <a:r>
              <a:rPr lang="de-DE" sz="1800" dirty="0" smtClean="0"/>
              <a:t> der Vermeidung und Beseitigung von Umweltschäden </a:t>
            </a:r>
            <a:endParaRPr lang="de-DE" sz="1800" dirty="0"/>
          </a:p>
        </p:txBody>
      </p:sp>
      <p:pic>
        <p:nvPicPr>
          <p:cNvPr id="4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32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69374"/>
            <a:ext cx="7886699" cy="2144684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None/>
            </a:pPr>
            <a:r>
              <a:rPr lang="de-DE" sz="1800" dirty="0"/>
              <a:t>Gesetz für Unternehmen mit folgenden Abfallmengen: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  200 kg gefährlicher Abfall pro Jahr</a:t>
            </a:r>
          </a:p>
          <a:p>
            <a:pPr lvl="1"/>
            <a:r>
              <a:rPr lang="de-DE" sz="1800" dirty="0"/>
              <a:t>  2000 kg ungefährlicher Abfall pro Jahr</a:t>
            </a:r>
          </a:p>
          <a:p>
            <a:pPr lvl="1"/>
            <a:r>
              <a:rPr lang="de-DE" sz="1800" dirty="0"/>
              <a:t>  5000 kg Bauschutt und Abbruchabfall</a:t>
            </a:r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628650" y="890575"/>
            <a:ext cx="55892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/>
              <a:t>UNGARN - </a:t>
            </a:r>
            <a:r>
              <a:rPr lang="de-DE" sz="2800" dirty="0">
                <a:solidFill>
                  <a:srgbClr val="32287F"/>
                </a:solidFill>
              </a:rPr>
              <a:t>Abfallmengen</a:t>
            </a:r>
          </a:p>
        </p:txBody>
      </p:sp>
      <p:pic>
        <p:nvPicPr>
          <p:cNvPr id="6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579DC-FE5B-43DE-AB9F-06A428825CFA}" type="datetime1">
              <a:rPr lang="de-DE" smtClean="0"/>
              <a:t>25.06.2024</a:t>
            </a:fld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15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5"/>
            <a:ext cx="5589270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UNGARN </a:t>
            </a:r>
            <a:br>
              <a:rPr lang="de-DE" sz="2800" dirty="0" smtClean="0"/>
            </a:br>
            <a:r>
              <a:rPr lang="de-DE" sz="2800" dirty="0" smtClean="0"/>
              <a:t>– Police je Genehmigung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16137"/>
            <a:ext cx="8038012" cy="2937753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/>
            <a:r>
              <a:rPr lang="de-DE" sz="1800" dirty="0">
                <a:solidFill>
                  <a:srgbClr val="002060"/>
                </a:solidFill>
              </a:rPr>
              <a:t>U</a:t>
            </a:r>
            <a:r>
              <a:rPr lang="de-DE" sz="1800" dirty="0" smtClean="0">
                <a:solidFill>
                  <a:srgbClr val="002060"/>
                </a:solidFill>
              </a:rPr>
              <a:t>nterschiedliche genehmigungspflichtige Tätigkeiten benötigen eigene Policen </a:t>
            </a:r>
          </a:p>
          <a:p>
            <a:pPr lvl="1"/>
            <a:endParaRPr lang="de-DE" sz="1800" dirty="0" smtClean="0">
              <a:solidFill>
                <a:srgbClr val="002060"/>
              </a:solidFill>
            </a:endParaRPr>
          </a:p>
          <a:p>
            <a:pPr lvl="1"/>
            <a:r>
              <a:rPr lang="de-DE" sz="1800" dirty="0" smtClean="0">
                <a:solidFill>
                  <a:srgbClr val="002060"/>
                </a:solidFill>
              </a:rPr>
              <a:t>Gleiche Tätigkeiten, die unter eine Genehmigung fallen, werden zusammengefasst</a:t>
            </a:r>
          </a:p>
          <a:p>
            <a:pPr lvl="1"/>
            <a:endParaRPr lang="de-DE" sz="1800" dirty="0" smtClean="0">
              <a:solidFill>
                <a:srgbClr val="002060"/>
              </a:solidFill>
            </a:endParaRPr>
          </a:p>
          <a:p>
            <a:pPr lvl="1"/>
            <a:r>
              <a:rPr lang="de-DE" sz="1800" dirty="0" smtClean="0">
                <a:solidFill>
                  <a:srgbClr val="002060"/>
                </a:solidFill>
              </a:rPr>
              <a:t>Gemäß § 72 müssen Zertifikate bis 31.03. des folgenden Jahres der Behörde vorgelegt werden</a:t>
            </a:r>
          </a:p>
        </p:txBody>
      </p:sp>
      <p:pic>
        <p:nvPicPr>
          <p:cNvPr id="4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6848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/>
              <a:t>TRC in Zahl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4294967295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r>
              <a:rPr lang="de-DE" dirty="0" smtClean="0"/>
              <a:t>24/04/24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E3B40-4D3F-4ACA-9831-AEEE4E2A0796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926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69374"/>
            <a:ext cx="7886699" cy="2761414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None/>
            </a:pPr>
            <a:r>
              <a:rPr lang="de-DE" sz="1800" dirty="0" smtClean="0"/>
              <a:t>Ein Schaden muss durch</a:t>
            </a:r>
            <a:r>
              <a:rPr lang="de-DE" sz="1800" dirty="0"/>
              <a:t> </a:t>
            </a:r>
            <a:r>
              <a:rPr lang="de-DE" sz="1800" dirty="0" smtClean="0"/>
              <a:t>ein </a:t>
            </a:r>
          </a:p>
          <a:p>
            <a:pPr marL="457200" lvl="1" indent="0">
              <a:buNone/>
            </a:pPr>
            <a:endParaRPr lang="de-DE" sz="1800" dirty="0" smtClean="0"/>
          </a:p>
          <a:p>
            <a:pPr lvl="1"/>
            <a:r>
              <a:rPr lang="de-DE" sz="1800" dirty="0" smtClean="0"/>
              <a:t>  einzelnes</a:t>
            </a:r>
            <a:endParaRPr lang="de-DE" sz="1800" dirty="0"/>
          </a:p>
          <a:p>
            <a:pPr lvl="1"/>
            <a:r>
              <a:rPr lang="de-DE" sz="1800" dirty="0"/>
              <a:t>  </a:t>
            </a:r>
            <a:r>
              <a:rPr lang="de-DE" sz="1800" dirty="0" smtClean="0"/>
              <a:t>plötzliches und </a:t>
            </a:r>
            <a:endParaRPr lang="de-DE" sz="1800" dirty="0"/>
          </a:p>
          <a:p>
            <a:pPr lvl="1"/>
            <a:r>
              <a:rPr lang="de-DE" sz="1800" dirty="0"/>
              <a:t>  </a:t>
            </a:r>
            <a:r>
              <a:rPr lang="de-DE" sz="1800" dirty="0" smtClean="0"/>
              <a:t>unvorhersehbares Ereignis verursacht werden,</a:t>
            </a:r>
          </a:p>
          <a:p>
            <a:pPr lvl="1"/>
            <a:r>
              <a:rPr lang="de-DE" sz="1800" dirty="0"/>
              <a:t> </a:t>
            </a:r>
            <a:r>
              <a:rPr lang="de-DE" sz="1800" dirty="0" smtClean="0"/>
              <a:t> das auf eine Störung des Normalbetrieb zurückzuführen ist</a:t>
            </a:r>
          </a:p>
          <a:p>
            <a:pPr lvl="1"/>
            <a:endParaRPr lang="de-DE" sz="1800" dirty="0" smtClean="0"/>
          </a:p>
          <a:p>
            <a:pPr lvl="1"/>
            <a:r>
              <a:rPr lang="de-DE" sz="1800" dirty="0" smtClean="0"/>
              <a:t>  </a:t>
            </a:r>
            <a:r>
              <a:rPr lang="de-DE" sz="1800" dirty="0" err="1" smtClean="0"/>
              <a:t>Allmählichkeitsschäden</a:t>
            </a:r>
            <a:r>
              <a:rPr lang="de-DE" sz="1800" dirty="0" smtClean="0"/>
              <a:t> sind </a:t>
            </a:r>
            <a:r>
              <a:rPr lang="de-DE" sz="1800" b="1" u="sng" dirty="0" smtClean="0"/>
              <a:t>nicht</a:t>
            </a:r>
            <a:r>
              <a:rPr lang="de-DE" sz="1800" dirty="0" smtClean="0"/>
              <a:t> versichert!</a:t>
            </a:r>
            <a:endParaRPr lang="de-DE" sz="1800" dirty="0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628650" y="890575"/>
            <a:ext cx="55892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/>
              <a:t>UNGARN – Trigger für Schaden</a:t>
            </a:r>
            <a:endParaRPr lang="de-DE" sz="2800" dirty="0">
              <a:solidFill>
                <a:srgbClr val="32287F"/>
              </a:solidFill>
            </a:endParaRPr>
          </a:p>
        </p:txBody>
      </p:sp>
      <p:pic>
        <p:nvPicPr>
          <p:cNvPr id="6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1579DC-FE5B-43DE-AB9F-06A428825CFA}" type="datetime1">
              <a:rPr lang="de-DE" smtClean="0"/>
              <a:t>25.06.2024</a:t>
            </a:fld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04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553834" y="2197766"/>
            <a:ext cx="7886699" cy="2746375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Font typeface="Arial" panose="020B0604020202020204" pitchFamily="34" charset="0"/>
              <a:buNone/>
            </a:pPr>
            <a:r>
              <a:rPr lang="de-DE" sz="1800" dirty="0" smtClean="0"/>
              <a:t>Unvorhergesehene Umweltschäden an der Biodiversität (Tier- und Pflanzenarten, Wald und Gewässer) mit einem Mindestlimit von: 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de-DE" sz="1800" dirty="0"/>
          </a:p>
          <a:p>
            <a:pPr lvl="1"/>
            <a:r>
              <a:rPr lang="de-DE" sz="1800" dirty="0" smtClean="0"/>
              <a:t>HUF </a:t>
            </a:r>
            <a:r>
              <a:rPr lang="de-DE" sz="1800" dirty="0"/>
              <a:t>10 Mio. (ca. EUR 28.000) je Schaden und Jahr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de-DE" sz="1800" dirty="0"/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de-DE" sz="1800" dirty="0"/>
              <a:t>Rückwirkende Deckung ab 01.01.2024 </a:t>
            </a: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553834" y="872203"/>
            <a:ext cx="603815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/>
              <a:t>UNGARN - </a:t>
            </a:r>
            <a:r>
              <a:rPr lang="de-DE" sz="2800" dirty="0" smtClean="0">
                <a:solidFill>
                  <a:srgbClr val="32287F"/>
                </a:solidFill>
              </a:rPr>
              <a:t>Deckungsumfang</a:t>
            </a:r>
            <a:endParaRPr lang="de-DE" sz="2800" dirty="0"/>
          </a:p>
        </p:txBody>
      </p:sp>
      <p:pic>
        <p:nvPicPr>
          <p:cNvPr id="7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0497F-4E14-489E-8D34-521218020B4E}" type="datetime1">
              <a:rPr lang="de-DE" smtClean="0"/>
              <a:t>25.06.2024</a:t>
            </a:fld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149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16323"/>
            <a:ext cx="7886699" cy="2156171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Font typeface="Arial" panose="020B0604020202020204" pitchFamily="34" charset="0"/>
              <a:buNone/>
            </a:pPr>
            <a:r>
              <a:rPr lang="de-DE" sz="1800" dirty="0"/>
              <a:t>Die Prämie ist abhängig von diversen Faktoren ab, wie z.B.: 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de-DE" sz="1800" dirty="0"/>
          </a:p>
          <a:p>
            <a:pPr lvl="1"/>
            <a:r>
              <a:rPr lang="de-DE" sz="1800" dirty="0" smtClean="0"/>
              <a:t>Art </a:t>
            </a:r>
            <a:r>
              <a:rPr lang="de-DE" sz="1800" dirty="0"/>
              <a:t>und Größe des </a:t>
            </a:r>
            <a:r>
              <a:rPr lang="de-DE" sz="1800" dirty="0" smtClean="0"/>
              <a:t>Unternehmens</a:t>
            </a:r>
          </a:p>
          <a:p>
            <a:pPr lvl="1"/>
            <a:r>
              <a:rPr lang="de-DE" sz="1800" dirty="0" smtClean="0"/>
              <a:t>Grad </a:t>
            </a:r>
            <a:r>
              <a:rPr lang="de-DE" sz="1800" dirty="0"/>
              <a:t>und Gefährlichkeit des Abfalls</a:t>
            </a: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628650" y="890575"/>
            <a:ext cx="55892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/>
              <a:t>UNGARN - </a:t>
            </a:r>
            <a:r>
              <a:rPr lang="de-DE" sz="2800" dirty="0" smtClean="0">
                <a:solidFill>
                  <a:srgbClr val="32287F"/>
                </a:solidFill>
              </a:rPr>
              <a:t>Prämie</a:t>
            </a:r>
            <a:endParaRPr lang="de-DE" sz="2800" dirty="0">
              <a:solidFill>
                <a:srgbClr val="32287F"/>
              </a:solidFill>
            </a:endParaRPr>
          </a:p>
        </p:txBody>
      </p:sp>
      <p:pic>
        <p:nvPicPr>
          <p:cNvPr id="7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C1D13-8628-4657-8D03-33396FCB1E90}" type="datetime1">
              <a:rPr lang="de-DE" smtClean="0"/>
              <a:t>25.06.2024</a:t>
            </a:fld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5843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076729"/>
              </p:ext>
            </p:extLst>
          </p:nvPr>
        </p:nvGraphicFramePr>
        <p:xfrm>
          <a:off x="628650" y="2216138"/>
          <a:ext cx="7886700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3350">
                  <a:extLst>
                    <a:ext uri="{9D8B030D-6E8A-4147-A177-3AD203B41FA5}">
                      <a16:colId xmlns:a16="http://schemas.microsoft.com/office/drawing/2014/main" val="2462335483"/>
                    </a:ext>
                  </a:extLst>
                </a:gridCol>
                <a:gridCol w="3943350">
                  <a:extLst>
                    <a:ext uri="{9D8B030D-6E8A-4147-A177-3AD203B41FA5}">
                      <a16:colId xmlns:a16="http://schemas.microsoft.com/office/drawing/2014/main" val="34623256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Rein lokale Polic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 smtClean="0"/>
                        <a:t>Lokale Programmpolic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48037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Die meisten „Standalone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Umweltschadenpolicen“ werden mit Colonnade und Generali plaziert</a:t>
                      </a: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None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Die meisten internationalen Versicherer von lokale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Programmp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olicen bieten die Umweltschadendeckung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als Erweiterung gemäß dem Abfallgesetz an</a:t>
                      </a: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None/>
                      </a:pPr>
                      <a:endParaRPr lang="de-DE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Symbol" panose="05050102010706020507" pitchFamily="18" charset="2"/>
                        <a:buNone/>
                      </a:pP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Bisherige Störfalldeckung für Personen</a:t>
                      </a:r>
                      <a:r>
                        <a:rPr lang="de-DE" sz="1800" baseline="0" dirty="0" smtClean="0">
                          <a:solidFill>
                            <a:schemeClr val="tx1"/>
                          </a:solidFill>
                        </a:rPr>
                        <a:t> und Sachschäden Dritter </a:t>
                      </a:r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bleibt Teil der allgemeinen BHV</a:t>
                      </a:r>
                    </a:p>
                    <a:p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009002"/>
                  </a:ext>
                </a:extLst>
              </a:tr>
            </a:tbl>
          </a:graphicData>
        </a:graphic>
      </p:graphicFrame>
      <p:sp>
        <p:nvSpPr>
          <p:cNvPr id="5" name="Titel 1"/>
          <p:cNvSpPr txBox="1">
            <a:spLocks/>
          </p:cNvSpPr>
          <p:nvPr/>
        </p:nvSpPr>
        <p:spPr>
          <a:xfrm>
            <a:off x="628650" y="890575"/>
            <a:ext cx="558927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/>
              <a:t>UNGARN - </a:t>
            </a:r>
            <a:r>
              <a:rPr lang="de-DE" sz="2800" dirty="0" smtClean="0">
                <a:solidFill>
                  <a:srgbClr val="32287F"/>
                </a:solidFill>
              </a:rPr>
              <a:t>Policen</a:t>
            </a:r>
            <a:endParaRPr lang="de-DE" sz="2800" dirty="0">
              <a:solidFill>
                <a:srgbClr val="32287F"/>
              </a:solidFill>
            </a:endParaRPr>
          </a:p>
        </p:txBody>
      </p:sp>
      <p:pic>
        <p:nvPicPr>
          <p:cNvPr id="6" name="Bild 2" descr="Flagge Ungarn mit Wappen 110 g/m² Querformat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562793" cy="89057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F488B-6E48-4309-A9B4-D8DB25B5EA89}" type="datetime1">
              <a:rPr lang="de-DE" smtClean="0"/>
              <a:t>25.06.2024</a:t>
            </a:fld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466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5106" y="1937611"/>
            <a:ext cx="7886700" cy="1046478"/>
          </a:xfrm>
        </p:spPr>
        <p:txBody>
          <a:bodyPr>
            <a:normAutofit/>
          </a:bodyPr>
          <a:lstStyle/>
          <a:p>
            <a:r>
              <a:rPr lang="de-DE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SemiBold" pitchFamily="2" charset="0"/>
              </a:rPr>
              <a:t>Umwelthaftpflichtversicheru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509031" y="2984089"/>
            <a:ext cx="6038850" cy="698500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de-DE" sz="2800" dirty="0">
                <a:latin typeface="Montserrat ExtraBold" pitchFamily="2" charset="0"/>
                <a:ea typeface="+mj-ea"/>
                <a:cs typeface="+mj-cs"/>
              </a:rPr>
              <a:t>SLOWENIEN</a:t>
            </a:r>
          </a:p>
        </p:txBody>
      </p:sp>
      <p:pic>
        <p:nvPicPr>
          <p:cNvPr id="6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869" y="3682589"/>
            <a:ext cx="3053172" cy="152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platzhalter 2"/>
          <p:cNvSpPr txBox="1">
            <a:spLocks/>
          </p:cNvSpPr>
          <p:nvPr/>
        </p:nvSpPr>
        <p:spPr>
          <a:xfrm>
            <a:off x="628650" y="5256960"/>
            <a:ext cx="6038850" cy="698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latin typeface="Montserrat" pitchFamily="2" charset="0"/>
              </a:rPr>
              <a:t>CLAUDIA ENGEL</a:t>
            </a:r>
          </a:p>
          <a:p>
            <a:r>
              <a:rPr lang="de-DE" dirty="0" smtClean="0">
                <a:latin typeface="Montserrat" pitchFamily="2" charset="0"/>
              </a:rPr>
              <a:t>TRUST RISK CONTROL</a:t>
            </a:r>
            <a:endParaRPr lang="de-DE" dirty="0">
              <a:latin typeface="Montserrat" pitchFamily="2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73F0EE-C471-43CA-9E3B-AB1F4F325CE4}" type="datetime1">
              <a:rPr lang="de-DE" smtClean="0"/>
              <a:t>25.06.2024</a:t>
            </a:fld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671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4"/>
            <a:ext cx="5319069" cy="149692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DE" sz="2800" dirty="0" smtClean="0"/>
              <a:t>SLOWENIEN </a:t>
            </a:r>
            <a:br>
              <a:rPr lang="de-DE" sz="2800" dirty="0" smtClean="0"/>
            </a:br>
            <a:r>
              <a:rPr lang="de-DE" sz="2800" dirty="0" smtClean="0"/>
              <a:t>– Umweltschutzgesetz</a:t>
            </a:r>
            <a:r>
              <a:rPr lang="de-DE" sz="2400" dirty="0" smtClean="0"/>
              <a:t> </a:t>
            </a:r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452255"/>
            <a:ext cx="7886699" cy="2069869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 fontScale="92500"/>
          </a:bodyPr>
          <a:lstStyle/>
          <a:p>
            <a:pPr lvl="1"/>
            <a:r>
              <a:rPr lang="de-DE" sz="1800" dirty="0" smtClean="0"/>
              <a:t>Inkrafttreten des Gesetzes 12.10.2023</a:t>
            </a:r>
          </a:p>
          <a:p>
            <a:pPr marL="457200" lvl="1" indent="0">
              <a:buNone/>
            </a:pPr>
            <a:endParaRPr lang="de-DE" sz="1800" dirty="0" smtClean="0"/>
          </a:p>
          <a:p>
            <a:pPr lvl="1"/>
            <a:r>
              <a:rPr lang="de-DE" sz="1800" dirty="0" smtClean="0"/>
              <a:t>§ </a:t>
            </a:r>
            <a:r>
              <a:rPr lang="de-DE" sz="1800" dirty="0"/>
              <a:t>161 verpflichtet </a:t>
            </a:r>
            <a:r>
              <a:rPr lang="de-DE" sz="1800" dirty="0" smtClean="0"/>
              <a:t>Unternehmen, deren Tätigkeiten unter das Gesetz fallen, eine Umwelthaftpflichtversicherung abzuschließen, </a:t>
            </a:r>
            <a:r>
              <a:rPr lang="de-DE" sz="1800" dirty="0"/>
              <a:t>um die </a:t>
            </a:r>
            <a:r>
              <a:rPr lang="de-DE" sz="1800" dirty="0" smtClean="0"/>
              <a:t>Vermeidung </a:t>
            </a:r>
            <a:r>
              <a:rPr lang="de-DE" sz="1800" dirty="0"/>
              <a:t>und Sanierung von Umweltschäden zu finanzieren. </a:t>
            </a:r>
            <a:endParaRPr lang="de-DE" sz="1800" dirty="0" smtClean="0"/>
          </a:p>
          <a:p>
            <a:pPr marL="457200" lvl="1" indent="0">
              <a:buNone/>
            </a:pPr>
            <a:endParaRPr lang="de-DE" sz="1800" dirty="0" smtClean="0"/>
          </a:p>
          <a:p>
            <a:pPr lvl="1"/>
            <a:r>
              <a:rPr lang="de-DE" sz="1800" dirty="0" smtClean="0"/>
              <a:t>Geschädigter Dritter und Anspruchsteller ist der Staat</a:t>
            </a:r>
            <a:endParaRPr lang="de-DE" sz="1800" dirty="0"/>
          </a:p>
        </p:txBody>
      </p:sp>
      <p:pic>
        <p:nvPicPr>
          <p:cNvPr id="4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04DA7-4E83-47A2-91D4-A58ADF34F65F}" type="datetime1">
              <a:rPr lang="de-DE" smtClean="0"/>
              <a:t>25.06.2024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101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997527"/>
            <a:ext cx="7886699" cy="137991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2800" dirty="0"/>
              <a:t>SLOWENIEN 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400" dirty="0" smtClean="0"/>
              <a:t>Betriebstätigkeiten </a:t>
            </a:r>
            <a:r>
              <a:rPr lang="de-DE" sz="2400" dirty="0"/>
              <a:t>mit Umweltgenehmigung </a:t>
            </a:r>
            <a:r>
              <a:rPr lang="de-DE" dirty="0" smtClean="0">
                <a:latin typeface="+mn-lt"/>
              </a:rPr>
              <a:t>(</a:t>
            </a:r>
            <a:r>
              <a:rPr lang="de-DE" dirty="0">
                <a:latin typeface="+mn-lt"/>
              </a:rPr>
              <a:t>Teil </a:t>
            </a:r>
            <a:r>
              <a:rPr lang="de-DE" dirty="0" smtClean="0">
                <a:latin typeface="+mn-lt"/>
              </a:rPr>
              <a:t>1)</a:t>
            </a:r>
            <a:endParaRPr lang="de-DE" dirty="0">
              <a:solidFill>
                <a:srgbClr val="32287F"/>
              </a:solidFill>
              <a:latin typeface="+mn-lt"/>
              <a:ea typeface="Inter Semi Bold" panose="02000703000000020004" pitchFamily="50" charset="0"/>
              <a:cs typeface="Inter Semi Bold" panose="02000703000000020004" pitchFamily="50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377440"/>
            <a:ext cx="7886699" cy="2951018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/>
            <a:r>
              <a:rPr lang="de-DE" sz="1800" dirty="0"/>
              <a:t>Betreiben einer Anlage mit Industrieemissione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bfallbeseitigung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Einleitung von Gefahrstoffen über das Abwasser in Gewässer oder Grundwasser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Direkte Einleitung von Gefahrstoffen in Gewässer und Grundwasser</a:t>
            </a:r>
          </a:p>
        </p:txBody>
      </p:sp>
      <p:pic>
        <p:nvPicPr>
          <p:cNvPr id="4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61977-1F91-4C49-B965-5DF2DD41EDB4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882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394064"/>
            <a:ext cx="7886699" cy="3101127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/>
            <a:r>
              <a:rPr lang="de-DE" sz="1800" dirty="0"/>
              <a:t>Betreiben einer Anlage mit gefährlichen Luftemissionen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Herstellung, Lagerung, Verarbeitung, Nutzung, Ausstoß und Transport von Chemikalien gemäß der Pflanzenschutz- und </a:t>
            </a:r>
            <a:r>
              <a:rPr lang="de-DE" sz="1800" dirty="0" smtClean="0"/>
              <a:t>Biozid-Produktverordnung</a:t>
            </a:r>
          </a:p>
          <a:p>
            <a:pPr marL="457200" lvl="1" indent="0">
              <a:buNone/>
            </a:pPr>
            <a:endParaRPr lang="de-DE" sz="1800" dirty="0" smtClean="0"/>
          </a:p>
          <a:p>
            <a:pPr lvl="1"/>
            <a:r>
              <a:rPr lang="de-DE" sz="1800" dirty="0" smtClean="0"/>
              <a:t>Speichern und Entnahme von Wasser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Beseitigung von Abfällen aus dem Bergbau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28650" y="997527"/>
            <a:ext cx="7886699" cy="137991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2800" dirty="0"/>
              <a:t>SLOWENIEN 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400" dirty="0" smtClean="0"/>
              <a:t>Betriebstätigkeiten </a:t>
            </a:r>
            <a:r>
              <a:rPr lang="de-DE" sz="2400" dirty="0"/>
              <a:t>mit Umweltgenehmigung </a:t>
            </a:r>
            <a:r>
              <a:rPr lang="de-DE" dirty="0" smtClean="0">
                <a:latin typeface="+mn-lt"/>
              </a:rPr>
              <a:t>(Teil 2)</a:t>
            </a:r>
            <a:endParaRPr lang="de-DE" dirty="0">
              <a:solidFill>
                <a:srgbClr val="32287F"/>
              </a:solidFill>
              <a:latin typeface="+mn-lt"/>
              <a:ea typeface="Inter Semi Bold" panose="02000703000000020004" pitchFamily="50" charset="0"/>
              <a:cs typeface="Inter Semi Bold" panose="02000703000000020004" pitchFamily="50" charset="0"/>
            </a:endParaRPr>
          </a:p>
        </p:txBody>
      </p:sp>
      <p:pic>
        <p:nvPicPr>
          <p:cNvPr id="8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B7ABC-7C7F-47B9-A2C6-67028ED4E7B7}" type="datetime1">
              <a:rPr lang="de-DE" smtClean="0"/>
              <a:t>25.06.2024</a:t>
            </a:fld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838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4"/>
            <a:ext cx="5319069" cy="13255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2800" dirty="0"/>
              <a:t>SLOWENIEN 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800" dirty="0" smtClean="0"/>
              <a:t>- </a:t>
            </a:r>
            <a:r>
              <a:rPr lang="de-DE" sz="2800" dirty="0" smtClean="0">
                <a:solidFill>
                  <a:srgbClr val="32287F"/>
                </a:solidFill>
              </a:rPr>
              <a:t>Gefährdungshaftung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611314"/>
            <a:ext cx="7886699" cy="1702991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None/>
            </a:pPr>
            <a:r>
              <a:rPr lang="de-DE" sz="1800" dirty="0" smtClean="0"/>
              <a:t>Unternehmen, deren Tätigkeiten unter das Gesetz fallen, haften </a:t>
            </a:r>
            <a:r>
              <a:rPr lang="de-DE" sz="1800" b="1" u="sng" dirty="0"/>
              <a:t>verschuldensunabhängig</a:t>
            </a:r>
            <a:r>
              <a:rPr lang="de-DE" sz="1800" dirty="0"/>
              <a:t> für die </a:t>
            </a:r>
            <a:r>
              <a:rPr lang="de-DE" sz="1800" dirty="0" smtClean="0"/>
              <a:t>Vermeidung und Sanierung </a:t>
            </a:r>
            <a:r>
              <a:rPr lang="de-DE" sz="1800" dirty="0"/>
              <a:t>von </a:t>
            </a:r>
            <a:r>
              <a:rPr lang="de-DE" sz="1800" dirty="0" smtClean="0"/>
              <a:t>Umweltschäden</a:t>
            </a:r>
            <a:endParaRPr lang="de-DE" sz="1800" dirty="0"/>
          </a:p>
        </p:txBody>
      </p:sp>
      <p:pic>
        <p:nvPicPr>
          <p:cNvPr id="4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1AB8A-4D14-4C07-AA86-AA8835C54294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3720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4"/>
            <a:ext cx="5319069" cy="13255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2800" dirty="0"/>
              <a:t>SLOWENIEN 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800" dirty="0" smtClean="0"/>
              <a:t>- </a:t>
            </a:r>
            <a:r>
              <a:rPr lang="de-DE" sz="2800" dirty="0" smtClean="0">
                <a:solidFill>
                  <a:srgbClr val="32287F"/>
                </a:solidFill>
              </a:rPr>
              <a:t>Verschuldenshaftung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628900"/>
            <a:ext cx="7886699" cy="1743596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None/>
            </a:pPr>
            <a:r>
              <a:rPr lang="de-DE" sz="1800" dirty="0"/>
              <a:t>Unternehmen, deren </a:t>
            </a:r>
            <a:r>
              <a:rPr lang="de-DE" sz="1800" dirty="0" smtClean="0"/>
              <a:t>Tätigkeiten </a:t>
            </a:r>
            <a:r>
              <a:rPr lang="de-DE" sz="1800" b="1" u="sng" dirty="0"/>
              <a:t>nicht</a:t>
            </a:r>
            <a:r>
              <a:rPr lang="de-DE" sz="1800" dirty="0"/>
              <a:t> </a:t>
            </a:r>
            <a:r>
              <a:rPr lang="de-DE" sz="1800" dirty="0" smtClean="0"/>
              <a:t>unter das </a:t>
            </a:r>
            <a:r>
              <a:rPr lang="de-DE" sz="1800" dirty="0"/>
              <a:t>Gesetz </a:t>
            </a:r>
            <a:r>
              <a:rPr lang="de-DE" sz="1800" dirty="0" smtClean="0"/>
              <a:t>fallen, </a:t>
            </a:r>
            <a:r>
              <a:rPr lang="de-DE" sz="1800" dirty="0"/>
              <a:t>haften nur bei Vorsatz und Fahrlässigkeit für Umweltschäden und drohender Gefahr für geschützte </a:t>
            </a:r>
            <a:r>
              <a:rPr lang="de-DE" sz="1800" dirty="0" smtClean="0"/>
              <a:t>Spezies </a:t>
            </a:r>
            <a:r>
              <a:rPr lang="de-DE" sz="1800" dirty="0"/>
              <a:t>und deren Lebensraum </a:t>
            </a:r>
          </a:p>
        </p:txBody>
      </p:sp>
      <p:pic>
        <p:nvPicPr>
          <p:cNvPr id="4" name="Picture 4" descr="Flagge Sloweniens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78C6F-9B88-40BA-A5BE-9E78CC501ECD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5470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400" dirty="0" smtClean="0"/>
              <a:t>We Are TRC!</a:t>
            </a: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EE3B40-4D3F-4ACA-9831-AEEE4E2A0796}" type="slidenum">
              <a:rPr lang="de-DE" smtClean="0"/>
              <a:t>3</a:t>
            </a:fld>
            <a:endParaRPr lang="de-DE" dirty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4294967295"/>
          </p:nvPr>
        </p:nvSpPr>
        <p:spPr>
          <a:xfrm>
            <a:off x="628650" y="6356351"/>
            <a:ext cx="2057400" cy="365125"/>
          </a:xfrm>
        </p:spPr>
        <p:txBody>
          <a:bodyPr/>
          <a:lstStyle/>
          <a:p>
            <a:r>
              <a:rPr lang="de-DE" dirty="0" smtClean="0"/>
              <a:t>24/04/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085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4"/>
            <a:ext cx="5319069" cy="132556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e-DE" sz="2800" dirty="0"/>
              <a:t>SLOWENIEN </a:t>
            </a: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800" dirty="0" smtClean="0"/>
              <a:t>- </a:t>
            </a:r>
            <a:r>
              <a:rPr lang="de-DE" sz="2800" dirty="0" smtClean="0">
                <a:solidFill>
                  <a:srgbClr val="32287F"/>
                </a:solidFill>
              </a:rPr>
              <a:t>Deckungsumfang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77688"/>
            <a:ext cx="7886699" cy="2753100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457200" lvl="1" indent="0">
              <a:buNone/>
            </a:pPr>
            <a:r>
              <a:rPr lang="de-DE" sz="1800" dirty="0" smtClean="0"/>
              <a:t>Deckungssummen abhängig </a:t>
            </a:r>
            <a:r>
              <a:rPr lang="de-DE" sz="1800" dirty="0"/>
              <a:t>vom Jahresumsatz: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 smtClean="0"/>
              <a:t>EUR </a:t>
            </a:r>
            <a:r>
              <a:rPr lang="de-DE" sz="1800" dirty="0"/>
              <a:t>100.000 bei einem Umsatz &lt; EUR 2 Mio.</a:t>
            </a:r>
          </a:p>
          <a:p>
            <a:pPr lvl="1"/>
            <a:r>
              <a:rPr lang="de-DE" sz="1800" dirty="0" smtClean="0"/>
              <a:t>EUR 200.000 </a:t>
            </a:r>
            <a:r>
              <a:rPr lang="de-DE" sz="1800" dirty="0"/>
              <a:t>bei einem Umsatz &lt; EUR 10 Mio.</a:t>
            </a:r>
          </a:p>
          <a:p>
            <a:pPr lvl="1"/>
            <a:r>
              <a:rPr lang="de-DE" sz="1800" dirty="0" smtClean="0"/>
              <a:t>EUR </a:t>
            </a:r>
            <a:r>
              <a:rPr lang="de-DE" sz="1800" dirty="0"/>
              <a:t>250.000 bei einem Umsatz &gt; EUR 10 Mio</a:t>
            </a:r>
            <a:r>
              <a:rPr lang="de-DE" sz="1800" dirty="0" smtClean="0"/>
              <a:t>.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 smtClean="0"/>
              <a:t>Deckungserweiterung </a:t>
            </a:r>
            <a:r>
              <a:rPr lang="de-DE" sz="1800" dirty="0"/>
              <a:t>zur allgemeinen </a:t>
            </a:r>
            <a:r>
              <a:rPr lang="de-DE" sz="1800" dirty="0" smtClean="0"/>
              <a:t>BHV</a:t>
            </a:r>
            <a:endParaRPr lang="de-DE" sz="1800" dirty="0"/>
          </a:p>
        </p:txBody>
      </p:sp>
      <p:pic>
        <p:nvPicPr>
          <p:cNvPr id="4" name="Picture 4" descr="Flagge Sloweniens – Wikipedi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781150" cy="89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DA7C0-EE0F-47DF-9B01-BF94CF9ECAB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32099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5106" y="1937611"/>
            <a:ext cx="7886700" cy="1046478"/>
          </a:xfrm>
        </p:spPr>
        <p:txBody>
          <a:bodyPr>
            <a:normAutofit/>
          </a:bodyPr>
          <a:lstStyle/>
          <a:p>
            <a:r>
              <a:rPr lang="de-DE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SemiBold" pitchFamily="2" charset="0"/>
              </a:rPr>
              <a:t>Erdbeben</a:t>
            </a:r>
            <a:endParaRPr lang="de-DE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tserrat SemiBold" pitchFamily="2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1509031" y="2984089"/>
            <a:ext cx="6038850" cy="698500"/>
          </a:xfrm>
        </p:spPr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de-DE" sz="2800" dirty="0" smtClean="0">
                <a:latin typeface="Montserrat ExtraBold" pitchFamily="2" charset="0"/>
                <a:ea typeface="+mj-ea"/>
                <a:cs typeface="+mj-cs"/>
              </a:rPr>
              <a:t>TÜRKEI</a:t>
            </a:r>
            <a:endParaRPr lang="de-DE" sz="2800" dirty="0">
              <a:latin typeface="Montserrat ExtraBold" pitchFamily="2" charset="0"/>
              <a:ea typeface="+mj-ea"/>
              <a:cs typeface="+mj-cs"/>
            </a:endParaRPr>
          </a:p>
        </p:txBody>
      </p:sp>
      <p:sp>
        <p:nvSpPr>
          <p:cNvPr id="6" name="Textplatzhalter 2"/>
          <p:cNvSpPr txBox="1">
            <a:spLocks/>
          </p:cNvSpPr>
          <p:nvPr/>
        </p:nvSpPr>
        <p:spPr>
          <a:xfrm>
            <a:off x="628650" y="5256960"/>
            <a:ext cx="6038850" cy="698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latin typeface="Montserrat" pitchFamily="2" charset="0"/>
              </a:rPr>
              <a:t>LILLY HENGELHAUPT</a:t>
            </a:r>
          </a:p>
          <a:p>
            <a:r>
              <a:rPr lang="de-DE" dirty="0" smtClean="0">
                <a:latin typeface="Montserrat" pitchFamily="2" charset="0"/>
              </a:rPr>
              <a:t>TRUST RISK CONTROL</a:t>
            </a:r>
            <a:endParaRPr lang="de-DE" dirty="0">
              <a:latin typeface="Montserrat" pitchFamily="2" charset="0"/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6F144-9940-43CC-A526-AE529FBCB293}" type="datetime1">
              <a:rPr lang="de-DE" smtClean="0"/>
              <a:t>25.06.2024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1</a:t>
            </a:fld>
            <a:endParaRPr lang="de-DE"/>
          </a:p>
        </p:txBody>
      </p:sp>
      <p:pic>
        <p:nvPicPr>
          <p:cNvPr id="1026" name="Picture 2" descr="Datei:Flag of Turkey.svg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284" y="3608297"/>
            <a:ext cx="2289432" cy="1526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3611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5"/>
            <a:ext cx="5589270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TÜRKEI - Erdbeben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16138"/>
            <a:ext cx="8038012" cy="3334270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>
              <a:spcBef>
                <a:spcPts val="1200"/>
              </a:spcBef>
            </a:pPr>
            <a:r>
              <a:rPr lang="de-DE" sz="1800" dirty="0"/>
              <a:t>Hohes Erdbebenrisiko </a:t>
            </a:r>
          </a:p>
          <a:p>
            <a:pPr lvl="1">
              <a:spcBef>
                <a:spcPts val="1200"/>
              </a:spcBef>
            </a:pPr>
            <a:r>
              <a:rPr lang="de-DE" sz="1800" dirty="0"/>
              <a:t>Die Epizentren der Erdbeben lagen in 2023 in der Provinz Kahramanmaras und in der Provinz Gaziantep. Betroffen ist nach Angaben des Auswärtigen Amtes der Südosten des Landes (diverse Provinzen). </a:t>
            </a:r>
          </a:p>
          <a:p>
            <a:pPr lvl="1">
              <a:spcBef>
                <a:spcPts val="1200"/>
              </a:spcBef>
            </a:pPr>
            <a:r>
              <a:rPr lang="de-DE" sz="1800" dirty="0"/>
              <a:t>Tarifmarkt für EQ</a:t>
            </a:r>
          </a:p>
          <a:p>
            <a:pPr lvl="1">
              <a:spcBef>
                <a:spcPts val="1200"/>
              </a:spcBef>
            </a:pPr>
            <a:r>
              <a:rPr lang="de-DE" sz="1800" dirty="0"/>
              <a:t>Deckung muss lokal platziert werden </a:t>
            </a:r>
          </a:p>
          <a:p>
            <a:pPr lvl="1">
              <a:spcBef>
                <a:spcPts val="1200"/>
              </a:spcBef>
            </a:pPr>
            <a:r>
              <a:rPr lang="de-DE" sz="1800" dirty="0"/>
              <a:t>Neue gestaffelte Tarife werden meist in der Mitte eines Jahres festgelegt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2</a:t>
            </a:fld>
            <a:endParaRPr lang="de-DE"/>
          </a:p>
        </p:txBody>
      </p:sp>
      <p:pic>
        <p:nvPicPr>
          <p:cNvPr id="7" name="Picture 2" descr="Datei:Flag of Turkey.svg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335600" cy="8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99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3</a:t>
            </a:fld>
            <a:endParaRPr lang="de-DE"/>
          </a:p>
        </p:txBody>
      </p:sp>
      <p:pic>
        <p:nvPicPr>
          <p:cNvPr id="7" name="Picture 2" descr="Datei:Flag of Turkey.svg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335600" cy="8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Schwere Erdbeben treffen die Türkei und Syrien, wie die Grafik der US-Erdbebenwarte USGS zeigt.  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280" y="1506620"/>
            <a:ext cx="6451600" cy="48131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5414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890575"/>
            <a:ext cx="5589270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TÜRKEI - Erdbeben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idx="1"/>
          </p:nvPr>
        </p:nvSpPr>
        <p:spPr>
          <a:xfrm>
            <a:off x="628650" y="2216138"/>
            <a:ext cx="8038012" cy="2814650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lvl="1"/>
            <a:r>
              <a:rPr lang="de-DE" sz="1800" dirty="0"/>
              <a:t>Wenn Sachwerte für jeden Standort 2BL TRL übersteigen, sind Tarife und Selbstbehalte frei </a:t>
            </a:r>
            <a:r>
              <a:rPr lang="de-DE" sz="1800" dirty="0" smtClean="0"/>
              <a:t>wählbar</a:t>
            </a:r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usschreibung auf dem lokalen Markt mittlerweile nicht mehr einfach (Kapazitätsprobleme, gestiegenes EQ Risiko) </a:t>
            </a:r>
            <a:endParaRPr lang="de-DE" sz="1800" dirty="0" smtClean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Ausschreibungen dauern sehr lange teilweise erst kurzfristig vor einer Verlängerung verfügbar 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4</a:t>
            </a:fld>
            <a:endParaRPr lang="de-DE"/>
          </a:p>
        </p:txBody>
      </p:sp>
      <p:pic>
        <p:nvPicPr>
          <p:cNvPr id="7" name="Picture 2" descr="Datei:Flag of Turkey.svg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335600" cy="8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763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8314" y="890575"/>
            <a:ext cx="5589270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TÜRKEI - Erdbeben</a:t>
            </a:r>
            <a:endParaRPr lang="de-DE" sz="2800" dirty="0">
              <a:solidFill>
                <a:srgbClr val="32287F"/>
              </a:solidFill>
            </a:endParaRP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41037-517E-4968-AF46-F4841A0DB06C}" type="datetime1">
              <a:rPr lang="de-DE" smtClean="0"/>
              <a:t>25.06.2024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35</a:t>
            </a:fld>
            <a:endParaRPr lang="de-DE"/>
          </a:p>
        </p:txBody>
      </p:sp>
      <p:pic>
        <p:nvPicPr>
          <p:cNvPr id="7" name="Picture 2" descr="Datei:Flag of Turkey.svg – Wikipedi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335600" cy="890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09685"/>
              </p:ext>
            </p:extLst>
          </p:nvPr>
        </p:nvGraphicFramePr>
        <p:xfrm>
          <a:off x="628650" y="2562125"/>
          <a:ext cx="7886699" cy="14702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88581">
                  <a:extLst>
                    <a:ext uri="{9D8B030D-6E8A-4147-A177-3AD203B41FA5}">
                      <a16:colId xmlns:a16="http://schemas.microsoft.com/office/drawing/2014/main" val="1999280700"/>
                    </a:ext>
                  </a:extLst>
                </a:gridCol>
                <a:gridCol w="951758">
                  <a:extLst>
                    <a:ext uri="{9D8B030D-6E8A-4147-A177-3AD203B41FA5}">
                      <a16:colId xmlns:a16="http://schemas.microsoft.com/office/drawing/2014/main" val="828013537"/>
                    </a:ext>
                  </a:extLst>
                </a:gridCol>
                <a:gridCol w="1010535">
                  <a:extLst>
                    <a:ext uri="{9D8B030D-6E8A-4147-A177-3AD203B41FA5}">
                      <a16:colId xmlns:a16="http://schemas.microsoft.com/office/drawing/2014/main" val="3506759392"/>
                    </a:ext>
                  </a:extLst>
                </a:gridCol>
                <a:gridCol w="987165">
                  <a:extLst>
                    <a:ext uri="{9D8B030D-6E8A-4147-A177-3AD203B41FA5}">
                      <a16:colId xmlns:a16="http://schemas.microsoft.com/office/drawing/2014/main" val="2266914353"/>
                    </a:ext>
                  </a:extLst>
                </a:gridCol>
                <a:gridCol w="987165">
                  <a:extLst>
                    <a:ext uri="{9D8B030D-6E8A-4147-A177-3AD203B41FA5}">
                      <a16:colId xmlns:a16="http://schemas.microsoft.com/office/drawing/2014/main" val="3188015191"/>
                    </a:ext>
                  </a:extLst>
                </a:gridCol>
                <a:gridCol w="987165">
                  <a:extLst>
                    <a:ext uri="{9D8B030D-6E8A-4147-A177-3AD203B41FA5}">
                      <a16:colId xmlns:a16="http://schemas.microsoft.com/office/drawing/2014/main" val="1418713479"/>
                    </a:ext>
                  </a:extLst>
                </a:gridCol>
                <a:gridCol w="987165">
                  <a:extLst>
                    <a:ext uri="{9D8B030D-6E8A-4147-A177-3AD203B41FA5}">
                      <a16:colId xmlns:a16="http://schemas.microsoft.com/office/drawing/2014/main" val="1708077929"/>
                    </a:ext>
                  </a:extLst>
                </a:gridCol>
                <a:gridCol w="987165">
                  <a:extLst>
                    <a:ext uri="{9D8B030D-6E8A-4147-A177-3AD203B41FA5}">
                      <a16:colId xmlns:a16="http://schemas.microsoft.com/office/drawing/2014/main" val="2115164739"/>
                    </a:ext>
                  </a:extLst>
                </a:gridCol>
              </a:tblGrid>
              <a:tr h="48408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Building Type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I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II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III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IV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V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VI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EQ Risk Zone VII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extLst>
                  <a:ext uri="{0D108BD9-81ED-4DB2-BD59-A6C34878D82A}">
                    <a16:rowId xmlns:a16="http://schemas.microsoft.com/office/drawing/2014/main" val="3616928604"/>
                  </a:ext>
                </a:extLst>
              </a:tr>
              <a:tr h="48408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A (steel-concrete)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2,50 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2,10 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1,90 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1,55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1,10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0,85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0,60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extLst>
                  <a:ext uri="{0D108BD9-81ED-4DB2-BD59-A6C34878D82A}">
                    <a16:rowId xmlns:a16="http://schemas.microsoft.com/office/drawing/2014/main" val="2742761161"/>
                  </a:ext>
                </a:extLst>
              </a:tr>
              <a:tr h="48408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B (others)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>
                          <a:effectLst/>
                        </a:rPr>
                        <a:t>4,90‰</a:t>
                      </a:r>
                      <a:endParaRPr lang="de-DE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4,45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3,00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1,60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1,25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0,99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tr-TR" sz="1300" dirty="0">
                          <a:effectLst/>
                        </a:rPr>
                        <a:t>0,85‰</a:t>
                      </a:r>
                      <a:endParaRPr lang="de-DE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6817" marR="96817" marT="48409" marB="48409"/>
                </a:tc>
                <a:extLst>
                  <a:ext uri="{0D108BD9-81ED-4DB2-BD59-A6C34878D82A}">
                    <a16:rowId xmlns:a16="http://schemas.microsoft.com/office/drawing/2014/main" val="3982625966"/>
                  </a:ext>
                </a:extLst>
              </a:tr>
            </a:tbl>
          </a:graphicData>
        </a:graphic>
      </p:graphicFrame>
      <p:sp>
        <p:nvSpPr>
          <p:cNvPr id="3" name="Rechteck 2"/>
          <p:cNvSpPr/>
          <p:nvPr/>
        </p:nvSpPr>
        <p:spPr>
          <a:xfrm>
            <a:off x="628650" y="4378314"/>
            <a:ext cx="70797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F6B58E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Table I: *only rates with 80% co-insurance and 2% deductible</a:t>
            </a:r>
            <a:endParaRPr lang="de-DE" dirty="0">
              <a:solidFill>
                <a:srgbClr val="F6B5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400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95631" y="5637960"/>
            <a:ext cx="7552739" cy="698500"/>
          </a:xfrm>
        </p:spPr>
        <p:txBody>
          <a:bodyPr>
            <a:normAutofit/>
          </a:bodyPr>
          <a:lstStyle/>
          <a:p>
            <a:r>
              <a:rPr lang="de-DE" dirty="0" smtClean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EUER TRC – TEAM</a:t>
            </a:r>
          </a:p>
          <a:p>
            <a:r>
              <a:rPr lang="de-DE" dirty="0" smtClean="0">
                <a:latin typeface="Montserrat Light" pitchFamily="2" charset="0"/>
              </a:rPr>
              <a:t> Düsseldorf, 18.06.2024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628650" y="2769079"/>
            <a:ext cx="7886700" cy="10464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800" dirty="0" smtClean="0">
                <a:latin typeface="Montserrat SemiBold" pitchFamily="2" charset="0"/>
              </a:rPr>
              <a:t>Vielen Dank für Ihre Aufmerksamkeit.</a:t>
            </a:r>
            <a:endParaRPr lang="de-DE" sz="2800" dirty="0">
              <a:latin typeface="Montserrat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66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tx1"/>
            </a:gs>
            <a:gs pos="94000">
              <a:schemeClr val="bg1">
                <a:lumMod val="95000"/>
              </a:schemeClr>
            </a:gs>
            <a:gs pos="0">
              <a:schemeClr val="bg1"/>
            </a:gs>
          </a:gsLst>
          <a:path path="rect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>
          <a:xfrm>
            <a:off x="1301700" y="2039956"/>
            <a:ext cx="4617528" cy="56447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800" dirty="0" smtClean="0"/>
              <a:t>HAT GRUND ZU FEIERN!</a:t>
            </a:r>
            <a:endParaRPr lang="de-DE" sz="2800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717041" y="2803224"/>
            <a:ext cx="1274884" cy="56447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5400" dirty="0" smtClean="0">
                <a:solidFill>
                  <a:srgbClr val="008FD8"/>
                </a:solidFill>
              </a:rPr>
              <a:t>26</a:t>
            </a:r>
            <a:endParaRPr lang="de-DE" sz="4400" dirty="0">
              <a:solidFill>
                <a:srgbClr val="008FD8"/>
              </a:solidFill>
            </a:endParaRP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6400450" y="5706104"/>
            <a:ext cx="1181863" cy="57275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4000" dirty="0">
                <a:solidFill>
                  <a:srgbClr val="0154A5"/>
                </a:solidFill>
              </a:rPr>
              <a:t>1</a:t>
            </a:r>
            <a:r>
              <a:rPr lang="de-DE" sz="4000" dirty="0" smtClean="0">
                <a:solidFill>
                  <a:srgbClr val="0154A5"/>
                </a:solidFill>
              </a:rPr>
              <a:t>0</a:t>
            </a:r>
            <a:endParaRPr lang="de-DE" sz="4400" dirty="0">
              <a:solidFill>
                <a:srgbClr val="0154A5"/>
              </a:solidFill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6199474" y="1999969"/>
            <a:ext cx="1274884" cy="56447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4400" dirty="0" smtClean="0">
                <a:solidFill>
                  <a:srgbClr val="014587"/>
                </a:solidFill>
              </a:rPr>
              <a:t>20</a:t>
            </a:r>
            <a:endParaRPr lang="de-DE" sz="4400" dirty="0">
              <a:solidFill>
                <a:srgbClr val="014587"/>
              </a:solidFill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>
          <a:xfrm>
            <a:off x="1393140" y="4903570"/>
            <a:ext cx="1151706" cy="47245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4000" dirty="0" smtClean="0">
                <a:solidFill>
                  <a:srgbClr val="00632F"/>
                </a:solidFill>
              </a:rPr>
              <a:t>10</a:t>
            </a:r>
            <a:endParaRPr lang="de-DE" sz="4400" dirty="0">
              <a:solidFill>
                <a:srgbClr val="00632F"/>
              </a:solidFill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1724168" y="3085460"/>
            <a:ext cx="1294259" cy="4303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smtClean="0">
                <a:solidFill>
                  <a:srgbClr val="008FD8"/>
                </a:solidFill>
                <a:latin typeface="+mn-lt"/>
              </a:rPr>
              <a:t>JAHRE</a:t>
            </a:r>
            <a:endParaRPr lang="de-DE" sz="2400" dirty="0">
              <a:solidFill>
                <a:srgbClr val="008FD8"/>
              </a:solidFill>
              <a:latin typeface="+mn-lt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>
          <a:xfrm>
            <a:off x="7221091" y="5848510"/>
            <a:ext cx="1294259" cy="4303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smtClean="0">
                <a:solidFill>
                  <a:srgbClr val="0154A5"/>
                </a:solidFill>
                <a:latin typeface="+mn-lt"/>
              </a:rPr>
              <a:t>JAHRE</a:t>
            </a:r>
            <a:endParaRPr lang="de-DE" sz="2400" dirty="0">
              <a:solidFill>
                <a:srgbClr val="0154A5"/>
              </a:solidFill>
              <a:latin typeface="+mn-lt"/>
            </a:endParaRPr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7109885" y="2220714"/>
            <a:ext cx="1294259" cy="4303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smtClean="0">
                <a:solidFill>
                  <a:srgbClr val="014587"/>
                </a:solidFill>
                <a:latin typeface="+mn-lt"/>
              </a:rPr>
              <a:t>JAHRE</a:t>
            </a:r>
            <a:endParaRPr lang="de-DE" sz="2400" dirty="0">
              <a:solidFill>
                <a:srgbClr val="014587"/>
              </a:solidFill>
              <a:latin typeface="+mn-lt"/>
            </a:endParaRPr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2221507" y="5047233"/>
            <a:ext cx="1294259" cy="4303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smtClean="0">
                <a:solidFill>
                  <a:srgbClr val="00632F"/>
                </a:solidFill>
                <a:latin typeface="+mn-lt"/>
              </a:rPr>
              <a:t>JAHRE</a:t>
            </a:r>
            <a:endParaRPr lang="de-DE" sz="2400" dirty="0">
              <a:solidFill>
                <a:srgbClr val="00632F"/>
              </a:solidFill>
              <a:latin typeface="+mn-lt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862" y="3548953"/>
            <a:ext cx="3265968" cy="633198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3935" y="2604428"/>
            <a:ext cx="2421415" cy="718353"/>
          </a:xfrm>
          <a:prstGeom prst="rect">
            <a:avLst/>
          </a:prstGeom>
        </p:spPr>
      </p:pic>
      <p:pic>
        <p:nvPicPr>
          <p:cNvPr id="1026" name="Picture 2" descr="Koch + Pillmann GmbH + Co. KG - Versicherungsmakler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295" y="5462122"/>
            <a:ext cx="3258682" cy="556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. Giffey Versicherungsmakler Hamburg: Hom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297" y="4941384"/>
            <a:ext cx="1572768" cy="803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71" y="265657"/>
            <a:ext cx="4075693" cy="1674896"/>
          </a:xfrm>
          <a:prstGeom prst="rect">
            <a:avLst/>
          </a:prstGeom>
        </p:spPr>
      </p:pic>
      <p:sp>
        <p:nvSpPr>
          <p:cNvPr id="18" name="Titel 1"/>
          <p:cNvSpPr txBox="1">
            <a:spLocks/>
          </p:cNvSpPr>
          <p:nvPr/>
        </p:nvSpPr>
        <p:spPr>
          <a:xfrm>
            <a:off x="4626864" y="3343451"/>
            <a:ext cx="1274884" cy="56447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5400" dirty="0" smtClean="0">
                <a:solidFill>
                  <a:srgbClr val="444E8B"/>
                </a:solidFill>
              </a:rPr>
              <a:t>25</a:t>
            </a:r>
            <a:endParaRPr lang="de-DE" sz="4400" dirty="0">
              <a:solidFill>
                <a:srgbClr val="444E8B"/>
              </a:solidFill>
            </a:endParaRP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633991" y="3625687"/>
            <a:ext cx="1294259" cy="4303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smtClean="0">
                <a:solidFill>
                  <a:srgbClr val="444E8B"/>
                </a:solidFill>
                <a:latin typeface="+mn-lt"/>
              </a:rPr>
              <a:t>JAHRE</a:t>
            </a:r>
            <a:endParaRPr lang="de-DE" sz="2400" dirty="0">
              <a:solidFill>
                <a:srgbClr val="444E8B"/>
              </a:solidFill>
              <a:latin typeface="+mn-lt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2143" y="3964601"/>
            <a:ext cx="1739391" cy="129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451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2243657"/>
            <a:ext cx="6858000" cy="239759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800"/>
              </a:spcAft>
            </a:pPr>
            <a:r>
              <a:rPr lang="de-DE" sz="2800" dirty="0" smtClean="0">
                <a:latin typeface="Montserrat ExtraBold" pitchFamily="2" charset="0"/>
              </a:rPr>
              <a:t>Neues aus aller Welt:</a:t>
            </a:r>
            <a:br>
              <a:rPr lang="de-DE" sz="2800" dirty="0" smtClean="0">
                <a:latin typeface="Montserrat ExtraBold" pitchFamily="2" charset="0"/>
              </a:rPr>
            </a:br>
            <a:r>
              <a:rPr lang="de-DE" sz="2800" dirty="0">
                <a:latin typeface="Montserrat ExtraBold" pitchFamily="2" charset="0"/>
              </a:rPr>
              <a:t/>
            </a:r>
            <a:br>
              <a:rPr lang="de-DE" sz="2800" dirty="0">
                <a:latin typeface="Montserrat ExtraBold" pitchFamily="2" charset="0"/>
              </a:rPr>
            </a:br>
            <a:r>
              <a:rPr lang="de-DE" sz="2800" dirty="0" smtClean="0">
                <a:latin typeface="Montserrat SemiBold" pitchFamily="2" charset="0"/>
              </a:rPr>
              <a:t>Best Practices</a:t>
            </a:r>
            <a:br>
              <a:rPr lang="de-DE" sz="2800" dirty="0" smtClean="0">
                <a:latin typeface="Montserrat SemiBold" pitchFamily="2" charset="0"/>
              </a:rPr>
            </a:br>
            <a:r>
              <a:rPr lang="de-DE" sz="2800" dirty="0" smtClean="0">
                <a:latin typeface="Montserrat SemiBold" pitchFamily="2" charset="0"/>
              </a:rPr>
              <a:t>Regulatorik</a:t>
            </a:r>
            <a:br>
              <a:rPr lang="de-DE" sz="2800" dirty="0" smtClean="0">
                <a:latin typeface="Montserrat SemiBold" pitchFamily="2" charset="0"/>
              </a:rPr>
            </a:br>
            <a:r>
              <a:rPr lang="de-DE" sz="2800" dirty="0" smtClean="0">
                <a:latin typeface="Montserrat SemiBold" pitchFamily="2" charset="0"/>
              </a:rPr>
              <a:t>Trends</a:t>
            </a:r>
            <a:endParaRPr lang="de-DE" sz="2800" dirty="0">
              <a:latin typeface="Montserrat SemiBold" pitchFamily="2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95631" y="5637960"/>
            <a:ext cx="7552739" cy="698500"/>
          </a:xfrm>
        </p:spPr>
        <p:txBody>
          <a:bodyPr>
            <a:normAutofit/>
          </a:bodyPr>
          <a:lstStyle/>
          <a:p>
            <a:r>
              <a:rPr lang="de-DE" dirty="0" smtClean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Marianka Flizik</a:t>
            </a:r>
            <a:r>
              <a:rPr lang="de-DE" dirty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, Bernhard </a:t>
            </a:r>
            <a:r>
              <a:rPr lang="de-DE" dirty="0" smtClean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Lie, Claudia Engel und Lilly Hengelhaupt</a:t>
            </a:r>
          </a:p>
          <a:p>
            <a:r>
              <a:rPr lang="de-DE" dirty="0" smtClean="0">
                <a:latin typeface="Montserrat Light" pitchFamily="2" charset="0"/>
              </a:rPr>
              <a:t> Düsseldorf, 18.06.2024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969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65316" y="3114198"/>
            <a:ext cx="6858000" cy="225466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800"/>
              </a:spcAft>
            </a:pPr>
            <a:r>
              <a:rPr lang="de-DE" dirty="0" smtClean="0">
                <a:latin typeface="Montserrat SemiBold" pitchFamily="2" charset="0"/>
              </a:rPr>
              <a:t>ARGENTINIEN</a:t>
            </a:r>
            <a:br>
              <a:rPr lang="de-DE" dirty="0" smtClean="0">
                <a:latin typeface="Montserrat SemiBold" pitchFamily="2" charset="0"/>
              </a:rPr>
            </a:br>
            <a:r>
              <a:rPr lang="de-DE" dirty="0" smtClean="0">
                <a:latin typeface="Montserrat SemiBold" pitchFamily="2" charset="0"/>
              </a:rPr>
              <a:t>INDIEN</a:t>
            </a:r>
            <a:br>
              <a:rPr lang="de-DE" dirty="0" smtClean="0">
                <a:latin typeface="Montserrat SemiBold" pitchFamily="2" charset="0"/>
              </a:rPr>
            </a:br>
            <a:r>
              <a:rPr lang="de-DE" dirty="0" smtClean="0">
                <a:latin typeface="Montserrat SemiBold" pitchFamily="2" charset="0"/>
              </a:rPr>
              <a:t>VAE</a:t>
            </a:r>
            <a:br>
              <a:rPr lang="de-DE" dirty="0" smtClean="0">
                <a:latin typeface="Montserrat SemiBold" pitchFamily="2" charset="0"/>
              </a:rPr>
            </a:br>
            <a:r>
              <a:rPr lang="de-DE" dirty="0" smtClean="0">
                <a:latin typeface="Montserrat SemiBold" pitchFamily="2" charset="0"/>
              </a:rPr>
              <a:t>UNGARN</a:t>
            </a:r>
            <a:br>
              <a:rPr lang="de-DE" dirty="0" smtClean="0">
                <a:latin typeface="Montserrat SemiBold" pitchFamily="2" charset="0"/>
              </a:rPr>
            </a:br>
            <a:r>
              <a:rPr lang="de-DE" dirty="0" smtClean="0">
                <a:latin typeface="Montserrat SemiBold" pitchFamily="2" charset="0"/>
              </a:rPr>
              <a:t>SLOWENIEN</a:t>
            </a:r>
            <a:br>
              <a:rPr lang="de-DE" dirty="0" smtClean="0">
                <a:latin typeface="Montserrat SemiBold" pitchFamily="2" charset="0"/>
              </a:rPr>
            </a:br>
            <a:r>
              <a:rPr lang="de-DE" dirty="0" smtClean="0">
                <a:latin typeface="Montserrat SemiBold" pitchFamily="2" charset="0"/>
              </a:rPr>
              <a:t>TÜRKEI</a:t>
            </a:r>
            <a:endParaRPr lang="de-DE" dirty="0">
              <a:latin typeface="Montserrat SemiBold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5631" y="1944693"/>
            <a:ext cx="1152642" cy="768128"/>
          </a:xfrm>
          <a:prstGeom prst="rect">
            <a:avLst/>
          </a:prstGeom>
        </p:spPr>
      </p:pic>
      <p:pic>
        <p:nvPicPr>
          <p:cNvPr id="6" name="Picture 2" descr="Flagge Von Indien Stock Vektor Art und mehr Bilder von Indische Flagge -  Indische Flagge, Indien, Flagge - iStock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540" y="1934691"/>
            <a:ext cx="1152642" cy="768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3449" y="1934693"/>
            <a:ext cx="1172972" cy="782593"/>
          </a:xfrm>
          <a:prstGeom prst="rect">
            <a:avLst/>
          </a:prstGeom>
        </p:spPr>
      </p:pic>
      <p:pic>
        <p:nvPicPr>
          <p:cNvPr id="9" name="Bild 2" descr="Flagge Ungarn mit Wappen 110 g/m² Querformat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381" y="1934692"/>
            <a:ext cx="1329067" cy="76871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4" descr="Flagge Sloweniens – Wikipedi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3408" y="1934692"/>
            <a:ext cx="1450383" cy="768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Datei:Flag of Turkey.svg – Wikipedia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0058" y="1934691"/>
            <a:ext cx="1195758" cy="768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/>
          <p:cNvSpPr/>
          <p:nvPr/>
        </p:nvSpPr>
        <p:spPr>
          <a:xfrm>
            <a:off x="795631" y="3046137"/>
            <a:ext cx="18533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800" dirty="0">
                <a:solidFill>
                  <a:srgbClr val="B9766B"/>
                </a:solidFill>
                <a:latin typeface="Montserrat ExtraBold" pitchFamily="2" charset="0"/>
              </a:rPr>
              <a:t>AGENDA</a:t>
            </a:r>
            <a:endParaRPr lang="de-DE" dirty="0">
              <a:solidFill>
                <a:srgbClr val="B9766B"/>
              </a:solidFill>
            </a:endParaRPr>
          </a:p>
        </p:txBody>
      </p:sp>
      <p:sp>
        <p:nvSpPr>
          <p:cNvPr id="12" name="Textplatzhalter 3"/>
          <p:cNvSpPr txBox="1">
            <a:spLocks/>
          </p:cNvSpPr>
          <p:nvPr/>
        </p:nvSpPr>
        <p:spPr>
          <a:xfrm>
            <a:off x="795631" y="5637960"/>
            <a:ext cx="7552739" cy="6985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Marianka Flizik, </a:t>
            </a:r>
            <a:r>
              <a:rPr lang="de-DE" dirty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Bernhard </a:t>
            </a:r>
            <a:r>
              <a:rPr lang="de-DE" dirty="0" smtClean="0">
                <a:latin typeface="Montserrat Medium" pitchFamily="2" charset="0"/>
                <a:ea typeface="Inter Medium" panose="02000603000000020004" pitchFamily="50" charset="0"/>
                <a:cs typeface="Inter Medium" panose="02000603000000020004" pitchFamily="50" charset="0"/>
              </a:rPr>
              <a:t>Lie, Claudia Engel und Lilly Hengelhaupt </a:t>
            </a:r>
          </a:p>
          <a:p>
            <a:r>
              <a:rPr lang="de-DE" dirty="0" smtClean="0">
                <a:latin typeface="Montserrat Light" pitchFamily="2" charset="0"/>
              </a:rPr>
              <a:t>Düsseldorf, 18.06.2024</a:t>
            </a:r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70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>
                <a:latin typeface="Montserrat ExtraBold" pitchFamily="2" charset="0"/>
              </a:rPr>
              <a:t>ARGENTINI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>
                <a:latin typeface="Montserrat Light" pitchFamily="2" charset="0"/>
              </a:rPr>
              <a:t>MARIANKA FLIZIK</a:t>
            </a:r>
          </a:p>
          <a:p>
            <a:r>
              <a:rPr lang="de-DE" dirty="0" smtClean="0">
                <a:latin typeface="Montserrat Light" pitchFamily="2" charset="0"/>
              </a:rPr>
              <a:t>TRUST RISK CONTROL</a:t>
            </a:r>
            <a:endParaRPr lang="de-DE" dirty="0">
              <a:latin typeface="Montserrat Light" pitchFamily="2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E27C8-7B07-41D1-B84C-D0FD4588B71E}" type="datetime1">
              <a:rPr lang="de-DE" smtClean="0"/>
              <a:t>25.06.2024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7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7466" y="3608297"/>
            <a:ext cx="2289068" cy="1525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982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1067709"/>
            <a:ext cx="5319069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ARGENTINIEN </a:t>
            </a:r>
            <a:r>
              <a:rPr lang="de-DE" sz="2800" dirty="0"/>
              <a:t>- Inflation</a:t>
            </a:r>
          </a:p>
        </p:txBody>
      </p:sp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628650" y="2419526"/>
            <a:ext cx="8038012" cy="1687484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lvl="1" indent="-342900">
              <a:spcBef>
                <a:spcPts val="1000"/>
              </a:spcBef>
              <a:spcAft>
                <a:spcPts val="600"/>
              </a:spcAft>
            </a:pPr>
            <a:r>
              <a:rPr lang="de-DE" sz="1800" dirty="0" smtClean="0"/>
              <a:t>In </a:t>
            </a:r>
            <a:r>
              <a:rPr lang="de-DE" sz="1800" dirty="0"/>
              <a:t>Argentinien sind die Preise im April 2024 im </a:t>
            </a:r>
            <a:r>
              <a:rPr lang="de-DE" sz="1800" dirty="0" smtClean="0"/>
              <a:t>Vergleich zum </a:t>
            </a:r>
            <a:r>
              <a:rPr lang="de-DE" sz="1800" dirty="0"/>
              <a:t>Vormonat um 289,4% </a:t>
            </a:r>
            <a:r>
              <a:rPr lang="de-DE" sz="1800" dirty="0" smtClean="0"/>
              <a:t>gestiegen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 smtClean="0"/>
              <a:t>Damit </a:t>
            </a:r>
            <a:r>
              <a:rPr lang="de-DE" sz="1800" dirty="0"/>
              <a:t>lag die Inflationsrate den fünften Monat in Folge </a:t>
            </a:r>
            <a:r>
              <a:rPr lang="de-DE" sz="1800" dirty="0" smtClean="0"/>
              <a:t>bei über </a:t>
            </a:r>
            <a:r>
              <a:rPr lang="de-DE" sz="1800" dirty="0"/>
              <a:t>200%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C1009-0961-4BCA-8420-F8A8C830ACCB}" type="datetime1">
              <a:rPr lang="de-DE" smtClean="0"/>
              <a:t>25.06.2024</a:t>
            </a:fld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8</a:t>
            </a:fld>
            <a:endParaRPr lang="de-DE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562793" cy="104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03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Untertitel 2"/>
          <p:cNvSpPr>
            <a:spLocks noGrp="1"/>
          </p:cNvSpPr>
          <p:nvPr>
            <p:ph idx="1"/>
          </p:nvPr>
        </p:nvSpPr>
        <p:spPr>
          <a:xfrm>
            <a:off x="628650" y="2367018"/>
            <a:ext cx="8038012" cy="2269375"/>
          </a:xfr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anchor="ctr">
            <a:normAutofit/>
          </a:bodyPr>
          <a:lstStyle/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Policen können in ARS ausgestellt werden – nicht </a:t>
            </a:r>
            <a:r>
              <a:rPr lang="de-DE" sz="1800" dirty="0" smtClean="0"/>
              <a:t>empfohlen</a:t>
            </a:r>
            <a:r>
              <a:rPr lang="de-DE" sz="1800" dirty="0"/>
              <a:t>!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Die hohe Inflation führt zu Unterversicherung 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Policen sollten unbedingt in USD ausgestellt werden</a:t>
            </a:r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Alle Versicherer können in USD ausstellen – einige auch in </a:t>
            </a:r>
            <a:r>
              <a:rPr lang="de-DE" sz="1800" dirty="0" smtClean="0"/>
              <a:t>EUR</a:t>
            </a:r>
            <a:endParaRPr lang="de-DE" sz="1800" dirty="0"/>
          </a:p>
          <a:p>
            <a:pPr marL="342900" lvl="1" indent="-342900">
              <a:spcBef>
                <a:spcPts val="1000"/>
              </a:spcBef>
            </a:pPr>
            <a:r>
              <a:rPr lang="de-DE" sz="1800" dirty="0"/>
              <a:t>   Policen auf ARS Basis müssen all 3 Monate angepasst </a:t>
            </a:r>
            <a:r>
              <a:rPr lang="de-DE" sz="1800" dirty="0" smtClean="0"/>
              <a:t>werden</a:t>
            </a:r>
            <a:endParaRPr lang="de-DE" sz="18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B1EE0-C6C3-4317-9267-F6ECED7D5B63}" type="datetime1">
              <a:rPr lang="de-DE" smtClean="0"/>
              <a:t>25.06.2024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5BDC1-CE8B-4009-80B6-196446CA5099}" type="slidenum">
              <a:rPr lang="de-DE" smtClean="0"/>
              <a:t>9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28650" y="1041455"/>
            <a:ext cx="5319069" cy="1325563"/>
          </a:xfrm>
        </p:spPr>
        <p:txBody>
          <a:bodyPr>
            <a:normAutofit/>
          </a:bodyPr>
          <a:lstStyle/>
          <a:p>
            <a:r>
              <a:rPr lang="de-DE" sz="2800" dirty="0" smtClean="0"/>
              <a:t>ARGENTINIEN </a:t>
            </a:r>
            <a:r>
              <a:rPr lang="de-DE" sz="2800" dirty="0"/>
              <a:t>- </a:t>
            </a:r>
            <a:r>
              <a:rPr lang="de-DE" sz="2800" dirty="0" smtClean="0"/>
              <a:t>Währung</a:t>
            </a:r>
            <a:endParaRPr lang="de-DE" sz="28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562793" cy="1041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35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heme/theme1.xml><?xml version="1.0" encoding="utf-8"?>
<a:theme xmlns:a="http://schemas.openxmlformats.org/drawingml/2006/main" name="GermanProducerMeeting_Vorlage">
  <a:themeElements>
    <a:clrScheme name="Trust Risk Control Farbe">
      <a:dk1>
        <a:srgbClr val="32287D"/>
      </a:dk1>
      <a:lt1>
        <a:srgbClr val="FFFFFF"/>
      </a:lt1>
      <a:dk2>
        <a:srgbClr val="32287D"/>
      </a:dk2>
      <a:lt2>
        <a:srgbClr val="E7E6E6"/>
      </a:lt2>
      <a:accent1>
        <a:srgbClr val="32287D"/>
      </a:accent1>
      <a:accent2>
        <a:srgbClr val="7030A0"/>
      </a:accent2>
      <a:accent3>
        <a:srgbClr val="2A07A9"/>
      </a:accent3>
      <a:accent4>
        <a:srgbClr val="EBDAE2"/>
      </a:accent4>
      <a:accent5>
        <a:srgbClr val="4A2DB5"/>
      </a:accent5>
      <a:accent6>
        <a:srgbClr val="621AAA"/>
      </a:accent6>
      <a:hlink>
        <a:srgbClr val="32287D"/>
      </a:hlink>
      <a:folHlink>
        <a:srgbClr val="FFFFFF"/>
      </a:folHlink>
    </a:clrScheme>
    <a:fontScheme name="Trust Risk Control 2">
      <a:majorFont>
        <a:latin typeface="Inter Extra Bold"/>
        <a:ea typeface=""/>
        <a:cs typeface=""/>
      </a:majorFont>
      <a:minorFont>
        <a:latin typeface="Inter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ermanProducerMeeting_Vorlage" id="{33633C56-A6D4-48A0-A731-F8623FCAD168}" vid="{5BCE13E9-AE88-4536-8771-1A4777552DC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rust Risk Control Farbe">
    <a:dk1>
      <a:srgbClr val="32287D"/>
    </a:dk1>
    <a:lt1>
      <a:srgbClr val="FFFFFF"/>
    </a:lt1>
    <a:dk2>
      <a:srgbClr val="32287D"/>
    </a:dk2>
    <a:lt2>
      <a:srgbClr val="E7E6E6"/>
    </a:lt2>
    <a:accent1>
      <a:srgbClr val="32287D"/>
    </a:accent1>
    <a:accent2>
      <a:srgbClr val="7030A0"/>
    </a:accent2>
    <a:accent3>
      <a:srgbClr val="2A07A9"/>
    </a:accent3>
    <a:accent4>
      <a:srgbClr val="EBDAE2"/>
    </a:accent4>
    <a:accent5>
      <a:srgbClr val="4A2DB5"/>
    </a:accent5>
    <a:accent6>
      <a:srgbClr val="621AAA"/>
    </a:accent6>
    <a:hlink>
      <a:srgbClr val="32287D"/>
    </a:hlink>
    <a:folHlink>
      <a:srgbClr val="FFFF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7</Words>
  <Application>Microsoft Office PowerPoint</Application>
  <PresentationFormat>Bildschirmpräsentation (4:3)</PresentationFormat>
  <Paragraphs>257</Paragraphs>
  <Slides>3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6</vt:i4>
      </vt:variant>
    </vt:vector>
  </HeadingPairs>
  <TitlesOfParts>
    <vt:vector size="52" baseType="lpstr">
      <vt:lpstr>Arial</vt:lpstr>
      <vt:lpstr>Calibri</vt:lpstr>
      <vt:lpstr>Inter Extra Bold</vt:lpstr>
      <vt:lpstr>Inter Light</vt:lpstr>
      <vt:lpstr>Inter Medium</vt:lpstr>
      <vt:lpstr>Inter Semi Bold</vt:lpstr>
      <vt:lpstr>Montserrat</vt:lpstr>
      <vt:lpstr>Montserrat ExtraBold</vt:lpstr>
      <vt:lpstr>Montserrat Light</vt:lpstr>
      <vt:lpstr>Montserrat Medium</vt:lpstr>
      <vt:lpstr>Montserrat SemiBold</vt:lpstr>
      <vt:lpstr>Open Sans</vt:lpstr>
      <vt:lpstr>Symbol</vt:lpstr>
      <vt:lpstr>Times New Roman</vt:lpstr>
      <vt:lpstr>Verdana</vt:lpstr>
      <vt:lpstr>GermanProducerMeeting_Vorlage</vt:lpstr>
      <vt:lpstr>WILLKOMMEN ZUM 1.</vt:lpstr>
      <vt:lpstr>TRC in Zahlen</vt:lpstr>
      <vt:lpstr>We Are TRC!</vt:lpstr>
      <vt:lpstr>PowerPoint-Präsentation</vt:lpstr>
      <vt:lpstr>Neues aus aller Welt:  Best Practices Regulatorik Trends</vt:lpstr>
      <vt:lpstr>ARGENTINIEN INDIEN VAE UNGARN SLOWENIEN TÜRKEI</vt:lpstr>
      <vt:lpstr>ARGENTINIEN</vt:lpstr>
      <vt:lpstr>ARGENTINIEN - Inflation</vt:lpstr>
      <vt:lpstr>ARGENTINIEN - Währung</vt:lpstr>
      <vt:lpstr>ARGENTINIEN – Neue Rückversicherungssteuer</vt:lpstr>
      <vt:lpstr>INDIEN</vt:lpstr>
      <vt:lpstr>INDIEN - Tarifmarkt</vt:lpstr>
      <vt:lpstr>VEREINIGTE ARABISCHE EMIRATE</vt:lpstr>
      <vt:lpstr>VAE – Pflicht zur Krankenversicherung</vt:lpstr>
      <vt:lpstr>VAE – Pflicht zur Krankenversicherung</vt:lpstr>
      <vt:lpstr>Umwelthaftpflichtversicherung</vt:lpstr>
      <vt:lpstr>UNGARN - EU Umweltrichtlinie</vt:lpstr>
      <vt:lpstr>PowerPoint-Präsentation</vt:lpstr>
      <vt:lpstr>UNGARN  – Police je Genehmigung</vt:lpstr>
      <vt:lpstr>PowerPoint-Präsentation</vt:lpstr>
      <vt:lpstr>PowerPoint-Präsentation</vt:lpstr>
      <vt:lpstr>PowerPoint-Präsentation</vt:lpstr>
      <vt:lpstr>PowerPoint-Präsentation</vt:lpstr>
      <vt:lpstr>Umwelthaftpflichtversicherung</vt:lpstr>
      <vt:lpstr>SLOWENIEN  – Umweltschutzgesetz </vt:lpstr>
      <vt:lpstr>SLOWENIEN  Betriebstätigkeiten mit Umweltgenehmigung (Teil 1)</vt:lpstr>
      <vt:lpstr>SLOWENIEN  Betriebstätigkeiten mit Umweltgenehmigung (Teil 2)</vt:lpstr>
      <vt:lpstr>SLOWENIEN  - Gefährdungshaftung</vt:lpstr>
      <vt:lpstr>SLOWENIEN  - Verschuldenshaftung</vt:lpstr>
      <vt:lpstr>SLOWENIEN  - Deckungsumfang</vt:lpstr>
      <vt:lpstr>Erdbeben</vt:lpstr>
      <vt:lpstr>TÜRKEI - Erdbeben</vt:lpstr>
      <vt:lpstr>PowerPoint-Präsentation</vt:lpstr>
      <vt:lpstr>TÜRKEI - Erdbeben</vt:lpstr>
      <vt:lpstr>TÜRKEI - Erdbeb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ues aus aller Welt:  Best Practices Regulatorik Trends</dc:title>
  <dc:creator>Sara Sina</dc:creator>
  <cp:lastModifiedBy>Sara Sina</cp:lastModifiedBy>
  <cp:revision>80</cp:revision>
  <dcterms:created xsi:type="dcterms:W3CDTF">2024-06-12T09:43:13Z</dcterms:created>
  <dcterms:modified xsi:type="dcterms:W3CDTF">2024-06-25T13:16:36Z</dcterms:modified>
</cp:coreProperties>
</file>